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759" r:id="rId3"/>
    <p:sldMasterId id="2147483974" r:id="rId4"/>
    <p:sldMasterId id="2147484088" r:id="rId5"/>
    <p:sldMasterId id="2147484280" r:id="rId6"/>
    <p:sldMasterId id="2147484292" r:id="rId7"/>
  </p:sldMasterIdLst>
  <p:notesMasterIdLst>
    <p:notesMasterId r:id="rId55"/>
  </p:notesMasterIdLst>
  <p:sldIdLst>
    <p:sldId id="528" r:id="rId8"/>
    <p:sldId id="1109" r:id="rId9"/>
    <p:sldId id="1110" r:id="rId10"/>
    <p:sldId id="972" r:id="rId11"/>
    <p:sldId id="961" r:id="rId12"/>
    <p:sldId id="1104" r:id="rId13"/>
    <p:sldId id="960" r:id="rId14"/>
    <p:sldId id="1105" r:id="rId15"/>
    <p:sldId id="1107" r:id="rId16"/>
    <p:sldId id="962" r:id="rId17"/>
    <p:sldId id="958" r:id="rId18"/>
    <p:sldId id="964" r:id="rId19"/>
    <p:sldId id="965" r:id="rId20"/>
    <p:sldId id="974" r:id="rId21"/>
    <p:sldId id="983" r:id="rId22"/>
    <p:sldId id="984" r:id="rId23"/>
    <p:sldId id="985" r:id="rId24"/>
    <p:sldId id="1123" r:id="rId25"/>
    <p:sldId id="997" r:id="rId26"/>
    <p:sldId id="998" r:id="rId27"/>
    <p:sldId id="999" r:id="rId28"/>
    <p:sldId id="728" r:id="rId29"/>
    <p:sldId id="729" r:id="rId30"/>
    <p:sldId id="1055" r:id="rId31"/>
    <p:sldId id="765" r:id="rId32"/>
    <p:sldId id="785" r:id="rId33"/>
    <p:sldId id="959" r:id="rId34"/>
    <p:sldId id="827" r:id="rId35"/>
    <p:sldId id="829" r:id="rId36"/>
    <p:sldId id="1126" r:id="rId37"/>
    <p:sldId id="826" r:id="rId38"/>
    <p:sldId id="1124" r:id="rId39"/>
    <p:sldId id="835" r:id="rId40"/>
    <p:sldId id="838" r:id="rId41"/>
    <p:sldId id="1125" r:id="rId42"/>
    <p:sldId id="841" r:id="rId43"/>
    <p:sldId id="1108" r:id="rId44"/>
    <p:sldId id="1115" r:id="rId45"/>
    <p:sldId id="1118" r:id="rId46"/>
    <p:sldId id="1127" r:id="rId47"/>
    <p:sldId id="1119" r:id="rId48"/>
    <p:sldId id="1120" r:id="rId49"/>
    <p:sldId id="1121" r:id="rId50"/>
    <p:sldId id="1112" r:id="rId51"/>
    <p:sldId id="1128" r:id="rId52"/>
    <p:sldId id="1129" r:id="rId53"/>
    <p:sldId id="1130" r:id="rId54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7" d="100"/>
          <a:sy n="67" d="100"/>
        </p:scale>
        <p:origin x="1392" y="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slide" Target="slides/slide46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presProps" Target="presProps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62DD7-FBF3-44BC-A83B-A9D84A2A1EDE}" type="datetimeFigureOut">
              <a:rPr lang="fr-BE" smtClean="0"/>
              <a:pPr/>
              <a:t>7/11/2016</a:t>
            </a:fld>
            <a:endParaRPr lang="fr-BE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BE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84533-6379-4CFD-AA9D-63D68B0705CE}" type="slidenum">
              <a:rPr lang="fr-BE" smtClean="0"/>
              <a:pPr/>
              <a:t>‹N°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1333951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ma.europa.eu/ema/index.jsp?curl=pages/news_and_events/news/2012/03/news_detail_001467.jsp&amp;mid=WC0b01ac058004d5c1" TargetMode="External"/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://www.who.int/influenza/vaccines/virus/recommendations/201202_recommendation.pdf" TargetMode="External"/><Relationship Id="rId4" Type="http://schemas.openxmlformats.org/officeDocument/2006/relationships/hyperlink" Target="http://www.fda.gov/AdvisoryCommittees/CommitteesMeetingMaterials/BloodVaccinesandOtherBiologics/VaccinesandRelatedBiologicalProductsAdvisoryCommittee/ucm129568.htm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484533-6379-4CFD-AA9D-63D68B0705CE}" type="slidenum">
              <a:rPr lang="fr-BE" smtClean="0"/>
              <a:pPr/>
              <a:t>1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46976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484533-6379-4CFD-AA9D-63D68B0705CE}" type="slidenum">
              <a:rPr lang="fr-BE" smtClean="0"/>
              <a:pPr/>
              <a:t>24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4939568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73731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defTabSz="921224">
              <a:defRPr/>
            </a:pPr>
            <a:r>
              <a:rPr lang="en-GB" sz="700" dirty="0">
                <a:latin typeface="Arial" pitchFamily="34" charset="0"/>
                <a:cs typeface="Arial" pitchFamily="34" charset="0"/>
              </a:rPr>
              <a:t>Two antigenically distinct lineages of influenza B have circulated globally since 1985 (Victoria and Yamagata lineages); however, licensed trivalent vaccines contain antigens from only a single influenza B lineage and thus provide limited immunity against circulating influenza B strains of the lineage not present in the vaccine;</a:t>
            </a:r>
            <a:r>
              <a:rPr lang="en-GB" sz="700" baseline="30000" dirty="0">
                <a:latin typeface="Arial" pitchFamily="34" charset="0"/>
                <a:cs typeface="Arial" pitchFamily="34" charset="0"/>
              </a:rPr>
              <a:t>3 </a:t>
            </a:r>
            <a:r>
              <a:rPr lang="en-GB" sz="700" dirty="0">
                <a:latin typeface="Arial" pitchFamily="34" charset="0"/>
                <a:cs typeface="Arial" pitchFamily="34" charset="0"/>
              </a:rPr>
              <a:t>this is defined as a mismatch. </a:t>
            </a:r>
          </a:p>
          <a:p>
            <a:pPr defTabSz="921224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en-GB" sz="700" dirty="0">
                <a:latin typeface="Arial" pitchFamily="34" charset="0"/>
                <a:cs typeface="Arial" pitchFamily="34" charset="0"/>
              </a:rPr>
              <a:t>In February 2012, WHO recommended four influenza strains for inclusion in the next season’s vaccine;</a:t>
            </a:r>
            <a:r>
              <a:rPr lang="en-GB" sz="700" baseline="30000" dirty="0">
                <a:latin typeface="Arial" pitchFamily="34" charset="0"/>
                <a:cs typeface="Arial" pitchFamily="34" charset="0"/>
              </a:rPr>
              <a:t>4</a:t>
            </a:r>
            <a:r>
              <a:rPr lang="en-GB" sz="700" dirty="0">
                <a:latin typeface="Arial" pitchFamily="34" charset="0"/>
                <a:cs typeface="Arial" pitchFamily="34" charset="0"/>
              </a:rPr>
              <a:t> in March 2012, this was followed by the EMA’s recommendation for QIVs that included two influenza B virus strains for the 2012/2013 influenza season.</a:t>
            </a:r>
            <a:r>
              <a:rPr lang="en-GB" sz="700" baseline="30000" dirty="0">
                <a:latin typeface="Arial" pitchFamily="34" charset="0"/>
                <a:cs typeface="Arial" pitchFamily="34" charset="0"/>
              </a:rPr>
              <a:t>2</a:t>
            </a:r>
            <a:r>
              <a:rPr lang="en-GB" sz="700" dirty="0">
                <a:latin typeface="Arial" pitchFamily="34" charset="0"/>
                <a:cs typeface="Arial" pitchFamily="34" charset="0"/>
              </a:rPr>
              <a:t> The FDA Vaccines and Related Biological Products Advisory Committee also agreed on the benefits of a QIV, and voted on a second influenza B strain.</a:t>
            </a:r>
            <a:r>
              <a:rPr lang="en-GB" sz="700" baseline="30000" dirty="0">
                <a:latin typeface="Arial" pitchFamily="34" charset="0"/>
                <a:cs typeface="Arial" pitchFamily="34" charset="0"/>
              </a:rPr>
              <a:t>3</a:t>
            </a:r>
            <a:r>
              <a:rPr lang="en-GB" sz="700" dirty="0">
                <a:latin typeface="Arial" pitchFamily="34" charset="0"/>
                <a:cs typeface="Arial" pitchFamily="34" charset="0"/>
              </a:rPr>
              <a:t> A number of QIV formulations are currently available and, at the time of writing, several more are under development, with the FDA having approved GlaxoSmithKline’s four-strain seasonal influenza vaccine for use in the USA in December 2012.</a:t>
            </a:r>
            <a:r>
              <a:rPr lang="en-GB" sz="700" baseline="30000" dirty="0">
                <a:latin typeface="Arial" pitchFamily="34" charset="0"/>
                <a:cs typeface="Arial" pitchFamily="34" charset="0"/>
              </a:rPr>
              <a:t>5,6</a:t>
            </a:r>
          </a:p>
          <a:p>
            <a:endParaRPr lang="en-GB" sz="700" dirty="0">
              <a:latin typeface="Arial" pitchFamily="34" charset="0"/>
              <a:cs typeface="Arial" pitchFamily="34" charset="0"/>
            </a:endParaRPr>
          </a:p>
          <a:p>
            <a:r>
              <a:rPr lang="en-GB" sz="700" b="1" dirty="0">
                <a:latin typeface="Arial" pitchFamily="34" charset="0"/>
                <a:cs typeface="Arial" pitchFamily="34" charset="0"/>
              </a:rPr>
              <a:t>References</a:t>
            </a:r>
          </a:p>
          <a:p>
            <a:pPr marL="230305" indent="-230305" defTabSz="953902" eaLnBrk="0" fontAlgn="base" hangingPunct="0">
              <a:spcBef>
                <a:spcPct val="3000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GB" sz="700" dirty="0"/>
              <a:t>WHO. Influenza vaccines – WHO position paper. </a:t>
            </a:r>
            <a:r>
              <a:rPr lang="en-GB" sz="700" i="1" dirty="0"/>
              <a:t>Wkly </a:t>
            </a:r>
            <a:r>
              <a:rPr lang="en-GB" sz="700" i="1" dirty="0" err="1"/>
              <a:t>Epidemiol</a:t>
            </a:r>
            <a:r>
              <a:rPr lang="en-GB" sz="700" i="1" dirty="0"/>
              <a:t> </a:t>
            </a:r>
            <a:r>
              <a:rPr lang="en-GB" sz="700" i="1" dirty="0" err="1"/>
              <a:t>Rec</a:t>
            </a:r>
            <a:r>
              <a:rPr lang="en-GB" sz="700" i="1" dirty="0"/>
              <a:t> </a:t>
            </a:r>
            <a:r>
              <a:rPr lang="en-GB" sz="700" dirty="0"/>
              <a:t>2012;87:461–476. </a:t>
            </a:r>
          </a:p>
          <a:p>
            <a:pPr marL="230305" indent="-230305">
              <a:buFont typeface="+mj-lt"/>
              <a:buAutoNum type="arabicPeriod"/>
            </a:pPr>
            <a:r>
              <a:rPr lang="en-GB" sz="700" dirty="0">
                <a:latin typeface="Arial" pitchFamily="34" charset="0"/>
                <a:cs typeface="Arial" pitchFamily="34" charset="0"/>
              </a:rPr>
              <a:t>EMA. European Medicines Agency issues recommendations for 2012/2013 seasonal flu vaccine composition. Available at </a:t>
            </a:r>
            <a:r>
              <a:rPr lang="en-GB" sz="700" dirty="0">
                <a:latin typeface="Arial" pitchFamily="34" charset="0"/>
                <a:cs typeface="Arial" pitchFamily="34" charset="0"/>
                <a:hlinkClick r:id="rId3"/>
              </a:rPr>
              <a:t>www.ema.europa.eu/ema/index.jsp?curl=pages/news_and_events/news/2012/03/news_detail_001467.jsp&amp;mid=WC0b01ac058004d5c1</a:t>
            </a:r>
            <a:r>
              <a:rPr lang="en-GB" sz="700" dirty="0">
                <a:latin typeface="Arial" pitchFamily="34" charset="0"/>
                <a:cs typeface="Arial" pitchFamily="34" charset="0"/>
              </a:rPr>
              <a:t> (accessed July 2012).</a:t>
            </a:r>
          </a:p>
          <a:p>
            <a:pPr marL="230305" indent="-230305">
              <a:buFont typeface="+mj-lt"/>
              <a:buAutoNum type="arabicPeriod"/>
            </a:pPr>
            <a:r>
              <a:rPr lang="en-GB" sz="700" dirty="0">
                <a:latin typeface="Arial" pitchFamily="34" charset="0"/>
                <a:cs typeface="Arial" pitchFamily="34" charset="0"/>
              </a:rPr>
              <a:t>FDA, </a:t>
            </a:r>
            <a:r>
              <a:rPr lang="en-GB" sz="700" dirty="0" err="1">
                <a:latin typeface="Arial" pitchFamily="34" charset="0"/>
                <a:cs typeface="Arial" pitchFamily="34" charset="0"/>
              </a:rPr>
              <a:t>Center</a:t>
            </a:r>
            <a:r>
              <a:rPr lang="en-GB" sz="700" dirty="0">
                <a:latin typeface="Arial" pitchFamily="34" charset="0"/>
                <a:cs typeface="Arial" pitchFamily="34" charset="0"/>
              </a:rPr>
              <a:t> for Biologics Evaluation and Research. </a:t>
            </a:r>
            <a:r>
              <a:rPr lang="en-GB" sz="700" dirty="0">
                <a:latin typeface="Arial" charset="0"/>
                <a:cs typeface="Arial" charset="0"/>
              </a:rPr>
              <a:t>Vaccines and Related Biological Products Advisory Committee</a:t>
            </a:r>
            <a:r>
              <a:rPr lang="en-GB" sz="700" dirty="0">
                <a:latin typeface="Arial" pitchFamily="34" charset="0"/>
                <a:cs typeface="Arial" pitchFamily="34" charset="0"/>
              </a:rPr>
              <a:t> meeting. February 18–19, 2009. Topic: Discuss utility of adding a second influenza type B strain to current seasonal influenza vaccine. Available at </a:t>
            </a:r>
            <a:r>
              <a:rPr lang="en-GB" sz="700" dirty="0">
                <a:latin typeface="Arial" pitchFamily="34" charset="0"/>
                <a:cs typeface="Arial" pitchFamily="34" charset="0"/>
                <a:hlinkClick r:id="rId4"/>
              </a:rPr>
              <a:t>www.fda.gov/AdvisoryCommittees/CommitteesMeetingMaterials/BloodVaccinesandOtherBiologics/VaccinesandRelatedBiologicalProductsAdvisoryCommittee/ucm129568.htm</a:t>
            </a:r>
            <a:r>
              <a:rPr lang="en-GB" sz="700" dirty="0">
                <a:latin typeface="Arial" pitchFamily="34" charset="0"/>
                <a:cs typeface="Arial" pitchFamily="34" charset="0"/>
              </a:rPr>
              <a:t> (accessed July 2012).</a:t>
            </a:r>
          </a:p>
          <a:p>
            <a:pPr marL="230305" indent="-230305">
              <a:buFont typeface="+mj-lt"/>
              <a:buAutoNum type="arabicPeriod"/>
            </a:pPr>
            <a:r>
              <a:rPr lang="en-GB" sz="700" dirty="0">
                <a:latin typeface="Arial" pitchFamily="34" charset="0"/>
                <a:cs typeface="Arial" pitchFamily="34" charset="0"/>
              </a:rPr>
              <a:t>WHO. Recommended composition of influenza virus vaccines for use in the 2012–2013 northern hemisphere influenza season. 2012. Available at </a:t>
            </a:r>
            <a:r>
              <a:rPr lang="en-GB" sz="700" dirty="0">
                <a:latin typeface="Arial" pitchFamily="34" charset="0"/>
                <a:cs typeface="Arial" pitchFamily="34" charset="0"/>
                <a:hlinkClick r:id="rId5"/>
              </a:rPr>
              <a:t>www.who.int/influenza/vaccines/virus/recommendations/201202_recommendation.pdf</a:t>
            </a:r>
            <a:r>
              <a:rPr lang="en-GB" sz="700" dirty="0">
                <a:latin typeface="Arial" pitchFamily="34" charset="0"/>
                <a:cs typeface="Arial" pitchFamily="34" charset="0"/>
              </a:rPr>
              <a:t> (accessed July 2012).</a:t>
            </a:r>
          </a:p>
          <a:p>
            <a:pPr marL="230305" indent="-230305" defTabSz="953902" eaLnBrk="0" fontAlgn="base" hangingPunct="0">
              <a:spcBef>
                <a:spcPct val="3000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en-GB" sz="700" dirty="0">
                <a:latin typeface="Arial" pitchFamily="34" charset="0"/>
                <a:cs typeface="Arial" pitchFamily="34" charset="0"/>
              </a:rPr>
              <a:t>FDA. December 14, 2012 Approval Letter- Fluarix Quadrivalent. Available at http://www.fda.gov/BiologicsBloodVaccines/Vaccines/ApprovedProducts/ucm332484.htm (accessed March 2013).</a:t>
            </a:r>
          </a:p>
          <a:p>
            <a:pPr marL="230305" indent="-230305" defTabSz="888869">
              <a:buFont typeface="+mj-lt"/>
              <a:buAutoNum type="arabicPeriod"/>
              <a:defRPr/>
            </a:pPr>
            <a:r>
              <a:rPr lang="en-GB" sz="700" dirty="0">
                <a:ea typeface="ＭＳ Ｐゴシック" pitchFamily="34" charset="-128"/>
              </a:rPr>
              <a:t>Ambrose CS &amp; Levin MJ. The rationale for quadrivalent influenza vaccines. </a:t>
            </a:r>
            <a:r>
              <a:rPr lang="en-GB" sz="700" i="1" dirty="0">
                <a:ea typeface="ＭＳ Ｐゴシック" pitchFamily="34" charset="-128"/>
              </a:rPr>
              <a:t>Hum </a:t>
            </a:r>
            <a:r>
              <a:rPr lang="en-GB" sz="700" i="1" dirty="0" err="1">
                <a:ea typeface="ＭＳ Ｐゴシック" pitchFamily="34" charset="-128"/>
              </a:rPr>
              <a:t>Vaccin</a:t>
            </a:r>
            <a:r>
              <a:rPr lang="en-GB" sz="700" i="1" dirty="0">
                <a:ea typeface="ＭＳ Ｐゴシック" pitchFamily="34" charset="-128"/>
              </a:rPr>
              <a:t> </a:t>
            </a:r>
            <a:r>
              <a:rPr lang="en-GB" sz="700" i="1" dirty="0" err="1">
                <a:ea typeface="ＭＳ Ｐゴシック" pitchFamily="34" charset="-128"/>
              </a:rPr>
              <a:t>Immunother</a:t>
            </a:r>
            <a:r>
              <a:rPr lang="en-GB" sz="700" dirty="0">
                <a:ea typeface="ＭＳ Ｐゴシック" pitchFamily="34" charset="-128"/>
              </a:rPr>
              <a:t> 2012;8:81</a:t>
            </a:r>
            <a:r>
              <a:rPr lang="en-GB" sz="700" dirty="0">
                <a:latin typeface="Arial"/>
                <a:ea typeface="ＭＳ Ｐゴシック" pitchFamily="34" charset="-128"/>
                <a:cs typeface="Arial"/>
              </a:rPr>
              <a:t>–88.</a:t>
            </a:r>
            <a:endParaRPr lang="en-GB" sz="7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83860" y="8684829"/>
            <a:ext cx="2972547" cy="457711"/>
          </a:xfrm>
          <a:prstGeom prst="rect">
            <a:avLst/>
          </a:prstGeom>
          <a:noFill/>
        </p:spPr>
        <p:txBody>
          <a:bodyPr/>
          <a:lstStyle/>
          <a:p>
            <a:pPr defTabSz="964407" eaLnBrk="0" hangingPunct="0"/>
            <a:fld id="{04909167-AEA8-4164-99A9-954E554F180B}" type="slidenum">
              <a:rPr lang="en-GB" sz="800">
                <a:solidFill>
                  <a:prstClr val="black"/>
                </a:solidFill>
              </a:rPr>
              <a:pPr defTabSz="964407" eaLnBrk="0" hangingPunct="0"/>
              <a:t>25</a:t>
            </a:fld>
            <a:endParaRPr lang="en-GB" sz="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948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917A17-421C-4ADF-8E4D-14F5AA6732AC}" type="slidenum">
              <a:rPr lang="nl-BE" smtClean="0">
                <a:solidFill>
                  <a:prstClr val="black"/>
                </a:solidFill>
              </a:rPr>
              <a:pPr/>
              <a:t>37</a:t>
            </a:fld>
            <a:endParaRPr lang="nl-B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853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17" name="Sous-titre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fr-FR" smtClean="0"/>
              <a:t>Cliquez pour modifier le style des sous-titres du masque</a:t>
            </a:r>
            <a:endParaRPr kumimoji="0" lang="en-US"/>
          </a:p>
        </p:txBody>
      </p:sp>
      <p:sp>
        <p:nvSpPr>
          <p:cNvPr id="30" name="Espace réservé de la date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/>
              <a:pPr/>
              <a:t>7/11/2016</a:t>
            </a:fld>
            <a:endParaRPr lang="fr-BE"/>
          </a:p>
        </p:txBody>
      </p:sp>
      <p:sp>
        <p:nvSpPr>
          <p:cNvPr id="19" name="Espace réservé du pied de page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27" name="Espace réservé du numéro de diapositive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/>
              <a:pPr/>
              <a:t>7/11/2016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914404"/>
            <a:ext cx="2057400" cy="5211763"/>
          </a:xfrm>
        </p:spPr>
        <p:txBody>
          <a:bodyPr vert="eaVert"/>
          <a:lstStyle/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914404"/>
            <a:ext cx="6019800" cy="5211763"/>
          </a:xfrm>
        </p:spPr>
        <p:txBody>
          <a:bodyPr vert="eaVert"/>
          <a:lstStyle/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/>
              <a:pPr/>
              <a:t>7/11/2016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3"/>
            <a:ext cx="9144000" cy="6856413"/>
            <a:chOff x="0" y="0"/>
            <a:chExt cx="5760" cy="4319"/>
          </a:xfrm>
        </p:grpSpPr>
        <p:sp>
          <p:nvSpPr>
            <p:cNvPr id="5" name="Freeform 3"/>
            <p:cNvSpPr>
              <a:spLocks/>
            </p:cNvSpPr>
            <p:nvPr/>
          </p:nvSpPr>
          <p:spPr bwMode="hidden">
            <a:xfrm>
              <a:off x="0" y="12"/>
              <a:ext cx="5758" cy="3273"/>
            </a:xfrm>
            <a:custGeom>
              <a:avLst/>
              <a:gdLst/>
              <a:ahLst/>
              <a:cxnLst>
                <a:cxn ang="0">
                  <a:pos x="3193" y="1816"/>
                </a:cxn>
                <a:cxn ang="0">
                  <a:pos x="0" y="0"/>
                </a:cxn>
                <a:cxn ang="0">
                  <a:pos x="0" y="522"/>
                </a:cxn>
                <a:cxn ang="0">
                  <a:pos x="3037" y="1978"/>
                </a:cxn>
                <a:cxn ang="0">
                  <a:pos x="5740" y="3273"/>
                </a:cxn>
                <a:cxn ang="0">
                  <a:pos x="5740" y="3267"/>
                </a:cxn>
                <a:cxn ang="0">
                  <a:pos x="3193" y="1816"/>
                </a:cxn>
                <a:cxn ang="0">
                  <a:pos x="3193" y="1816"/>
                </a:cxn>
              </a:cxnLst>
              <a:rect l="0" t="0" r="r" b="b"/>
              <a:pathLst>
                <a:path w="5740" h="3273">
                  <a:moveTo>
                    <a:pt x="3193" y="1816"/>
                  </a:moveTo>
                  <a:lnTo>
                    <a:pt x="0" y="0"/>
                  </a:lnTo>
                  <a:lnTo>
                    <a:pt x="0" y="522"/>
                  </a:lnTo>
                  <a:lnTo>
                    <a:pt x="3037" y="1978"/>
                  </a:lnTo>
                  <a:lnTo>
                    <a:pt x="5740" y="3273"/>
                  </a:lnTo>
                  <a:lnTo>
                    <a:pt x="5740" y="3267"/>
                  </a:lnTo>
                  <a:lnTo>
                    <a:pt x="3193" y="1816"/>
                  </a:lnTo>
                  <a:lnTo>
                    <a:pt x="3193" y="181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3529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6" name="Freeform 4"/>
            <p:cNvSpPr>
              <a:spLocks/>
            </p:cNvSpPr>
            <p:nvPr/>
          </p:nvSpPr>
          <p:spPr bwMode="hidden">
            <a:xfrm>
              <a:off x="149" y="0"/>
              <a:ext cx="5609" cy="3243"/>
            </a:xfrm>
            <a:custGeom>
              <a:avLst/>
              <a:gdLst/>
              <a:ahLst/>
              <a:cxnLst>
                <a:cxn ang="0">
                  <a:pos x="3163" y="1714"/>
                </a:cxn>
                <a:cxn ang="0">
                  <a:pos x="431" y="0"/>
                </a:cxn>
                <a:cxn ang="0">
                  <a:pos x="0" y="0"/>
                </a:cxn>
                <a:cxn ang="0">
                  <a:pos x="3086" y="1786"/>
                </a:cxn>
                <a:cxn ang="0">
                  <a:pos x="5591" y="3243"/>
                </a:cxn>
                <a:cxn ang="0">
                  <a:pos x="5591" y="3237"/>
                </a:cxn>
                <a:cxn ang="0">
                  <a:pos x="3163" y="1714"/>
                </a:cxn>
                <a:cxn ang="0">
                  <a:pos x="3163" y="1714"/>
                </a:cxn>
              </a:cxnLst>
              <a:rect l="0" t="0" r="r" b="b"/>
              <a:pathLst>
                <a:path w="5591" h="3243">
                  <a:moveTo>
                    <a:pt x="3163" y="1714"/>
                  </a:moveTo>
                  <a:lnTo>
                    <a:pt x="431" y="0"/>
                  </a:lnTo>
                  <a:lnTo>
                    <a:pt x="0" y="0"/>
                  </a:lnTo>
                  <a:lnTo>
                    <a:pt x="3086" y="1786"/>
                  </a:lnTo>
                  <a:lnTo>
                    <a:pt x="5591" y="3243"/>
                  </a:lnTo>
                  <a:lnTo>
                    <a:pt x="5591" y="3237"/>
                  </a:lnTo>
                  <a:lnTo>
                    <a:pt x="3163" y="1714"/>
                  </a:lnTo>
                  <a:lnTo>
                    <a:pt x="3163" y="1714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hidden">
            <a:xfrm>
              <a:off x="0" y="3433"/>
              <a:ext cx="4038" cy="191"/>
            </a:xfrm>
            <a:custGeom>
              <a:avLst/>
              <a:gdLst/>
              <a:ahLst/>
              <a:cxnLst>
                <a:cxn ang="0">
                  <a:pos x="0" y="156"/>
                </a:cxn>
                <a:cxn ang="0">
                  <a:pos x="4042" y="192"/>
                </a:cxn>
                <a:cxn ang="0">
                  <a:pos x="4042" y="144"/>
                </a:cxn>
                <a:cxn ang="0">
                  <a:pos x="0" y="0"/>
                </a:cxn>
                <a:cxn ang="0">
                  <a:pos x="0" y="156"/>
                </a:cxn>
                <a:cxn ang="0">
                  <a:pos x="0" y="156"/>
                </a:cxn>
              </a:cxnLst>
              <a:rect l="0" t="0" r="r" b="b"/>
              <a:pathLst>
                <a:path w="4042" h="192">
                  <a:moveTo>
                    <a:pt x="0" y="156"/>
                  </a:moveTo>
                  <a:lnTo>
                    <a:pt x="4042" y="192"/>
                  </a:lnTo>
                  <a:lnTo>
                    <a:pt x="4042" y="144"/>
                  </a:lnTo>
                  <a:lnTo>
                    <a:pt x="0" y="0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5686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hidden">
            <a:xfrm>
              <a:off x="4038" y="3577"/>
              <a:ext cx="1720" cy="65"/>
            </a:xfrm>
            <a:custGeom>
              <a:avLst/>
              <a:gdLst/>
              <a:ahLst/>
              <a:cxnLst>
                <a:cxn ang="0">
                  <a:pos x="1722" y="66"/>
                </a:cxn>
                <a:cxn ang="0">
                  <a:pos x="1722" y="60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1722" y="66"/>
                </a:cxn>
                <a:cxn ang="0">
                  <a:pos x="1722" y="66"/>
                </a:cxn>
              </a:cxnLst>
              <a:rect l="0" t="0" r="r" b="b"/>
              <a:pathLst>
                <a:path w="1722" h="66">
                  <a:moveTo>
                    <a:pt x="1722" y="66"/>
                  </a:moveTo>
                  <a:lnTo>
                    <a:pt x="1722" y="60"/>
                  </a:lnTo>
                  <a:lnTo>
                    <a:pt x="0" y="0"/>
                  </a:lnTo>
                  <a:lnTo>
                    <a:pt x="0" y="48"/>
                  </a:lnTo>
                  <a:lnTo>
                    <a:pt x="1722" y="66"/>
                  </a:lnTo>
                  <a:lnTo>
                    <a:pt x="1722" y="66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hidden">
            <a:xfrm>
              <a:off x="0" y="3726"/>
              <a:ext cx="4784" cy="329"/>
            </a:xfrm>
            <a:custGeom>
              <a:avLst/>
              <a:gdLst/>
              <a:ahLst/>
              <a:cxnLst>
                <a:cxn ang="0">
                  <a:pos x="0" y="329"/>
                </a:cxn>
                <a:cxn ang="0">
                  <a:pos x="4789" y="77"/>
                </a:cxn>
                <a:cxn ang="0">
                  <a:pos x="4789" y="0"/>
                </a:cxn>
                <a:cxn ang="0">
                  <a:pos x="0" y="107"/>
                </a:cxn>
                <a:cxn ang="0">
                  <a:pos x="0" y="329"/>
                </a:cxn>
                <a:cxn ang="0">
                  <a:pos x="0" y="329"/>
                </a:cxn>
              </a:cxnLst>
              <a:rect l="0" t="0" r="r" b="b"/>
              <a:pathLst>
                <a:path w="4789" h="329">
                  <a:moveTo>
                    <a:pt x="0" y="329"/>
                  </a:moveTo>
                  <a:lnTo>
                    <a:pt x="4789" y="77"/>
                  </a:lnTo>
                  <a:lnTo>
                    <a:pt x="4789" y="0"/>
                  </a:lnTo>
                  <a:lnTo>
                    <a:pt x="0" y="107"/>
                  </a:lnTo>
                  <a:lnTo>
                    <a:pt x="0" y="329"/>
                  </a:lnTo>
                  <a:lnTo>
                    <a:pt x="0" y="329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1961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hidden">
            <a:xfrm>
              <a:off x="4784" y="3702"/>
              <a:ext cx="974" cy="101"/>
            </a:xfrm>
            <a:custGeom>
              <a:avLst/>
              <a:gdLst/>
              <a:ahLst/>
              <a:cxnLst>
                <a:cxn ang="0">
                  <a:pos x="975" y="48"/>
                </a:cxn>
                <a:cxn ang="0">
                  <a:pos x="975" y="0"/>
                </a:cxn>
                <a:cxn ang="0">
                  <a:pos x="0" y="24"/>
                </a:cxn>
                <a:cxn ang="0">
                  <a:pos x="0" y="101"/>
                </a:cxn>
                <a:cxn ang="0">
                  <a:pos x="975" y="48"/>
                </a:cxn>
                <a:cxn ang="0">
                  <a:pos x="975" y="48"/>
                </a:cxn>
              </a:cxnLst>
              <a:rect l="0" t="0" r="r" b="b"/>
              <a:pathLst>
                <a:path w="975" h="101">
                  <a:moveTo>
                    <a:pt x="975" y="48"/>
                  </a:moveTo>
                  <a:lnTo>
                    <a:pt x="975" y="0"/>
                  </a:lnTo>
                  <a:lnTo>
                    <a:pt x="0" y="24"/>
                  </a:lnTo>
                  <a:lnTo>
                    <a:pt x="0" y="101"/>
                  </a:lnTo>
                  <a:lnTo>
                    <a:pt x="975" y="48"/>
                  </a:lnTo>
                  <a:lnTo>
                    <a:pt x="975" y="4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hidden">
            <a:xfrm>
              <a:off x="3619" y="3815"/>
              <a:ext cx="2139" cy="198"/>
            </a:xfrm>
            <a:custGeom>
              <a:avLst/>
              <a:gdLst/>
              <a:ahLst/>
              <a:cxnLst>
                <a:cxn ang="0">
                  <a:pos x="2141" y="0"/>
                </a:cxn>
                <a:cxn ang="0">
                  <a:pos x="0" y="156"/>
                </a:cxn>
                <a:cxn ang="0">
                  <a:pos x="0" y="198"/>
                </a:cxn>
                <a:cxn ang="0">
                  <a:pos x="2141" y="0"/>
                </a:cxn>
                <a:cxn ang="0">
                  <a:pos x="2141" y="0"/>
                </a:cxn>
              </a:cxnLst>
              <a:rect l="0" t="0" r="r" b="b"/>
              <a:pathLst>
                <a:path w="2141" h="198">
                  <a:moveTo>
                    <a:pt x="2141" y="0"/>
                  </a:moveTo>
                  <a:lnTo>
                    <a:pt x="0" y="156"/>
                  </a:lnTo>
                  <a:lnTo>
                    <a:pt x="0" y="198"/>
                  </a:lnTo>
                  <a:lnTo>
                    <a:pt x="2141" y="0"/>
                  </a:lnTo>
                  <a:lnTo>
                    <a:pt x="214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hidden">
            <a:xfrm>
              <a:off x="0" y="3971"/>
              <a:ext cx="3619" cy="348"/>
            </a:xfrm>
            <a:custGeom>
              <a:avLst/>
              <a:gdLst/>
              <a:ahLst/>
              <a:cxnLst>
                <a:cxn ang="0">
                  <a:pos x="0" y="348"/>
                </a:cxn>
                <a:cxn ang="0">
                  <a:pos x="311" y="348"/>
                </a:cxn>
                <a:cxn ang="0">
                  <a:pos x="3623" y="42"/>
                </a:cxn>
                <a:cxn ang="0">
                  <a:pos x="3623" y="0"/>
                </a:cxn>
                <a:cxn ang="0">
                  <a:pos x="0" y="264"/>
                </a:cxn>
                <a:cxn ang="0">
                  <a:pos x="0" y="348"/>
                </a:cxn>
                <a:cxn ang="0">
                  <a:pos x="0" y="348"/>
                </a:cxn>
              </a:cxnLst>
              <a:rect l="0" t="0" r="r" b="b"/>
              <a:pathLst>
                <a:path w="3623" h="348">
                  <a:moveTo>
                    <a:pt x="0" y="348"/>
                  </a:moveTo>
                  <a:lnTo>
                    <a:pt x="311" y="348"/>
                  </a:lnTo>
                  <a:lnTo>
                    <a:pt x="3623" y="42"/>
                  </a:lnTo>
                  <a:lnTo>
                    <a:pt x="3623" y="0"/>
                  </a:lnTo>
                  <a:lnTo>
                    <a:pt x="0" y="264"/>
                  </a:lnTo>
                  <a:lnTo>
                    <a:pt x="0" y="348"/>
                  </a:lnTo>
                  <a:lnTo>
                    <a:pt x="0" y="3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hidden">
            <a:xfrm>
              <a:off x="2097" y="4043"/>
              <a:ext cx="2514" cy="276"/>
            </a:xfrm>
            <a:custGeom>
              <a:avLst/>
              <a:gdLst/>
              <a:ahLst/>
              <a:cxnLst>
                <a:cxn ang="0">
                  <a:pos x="2182" y="276"/>
                </a:cxn>
                <a:cxn ang="0">
                  <a:pos x="2517" y="204"/>
                </a:cxn>
                <a:cxn ang="0">
                  <a:pos x="2260" y="0"/>
                </a:cxn>
                <a:cxn ang="0">
                  <a:pos x="0" y="276"/>
                </a:cxn>
                <a:cxn ang="0">
                  <a:pos x="2182" y="276"/>
                </a:cxn>
                <a:cxn ang="0">
                  <a:pos x="2182" y="276"/>
                </a:cxn>
              </a:cxnLst>
              <a:rect l="0" t="0" r="r" b="b"/>
              <a:pathLst>
                <a:path w="2517" h="276">
                  <a:moveTo>
                    <a:pt x="2182" y="276"/>
                  </a:moveTo>
                  <a:lnTo>
                    <a:pt x="2517" y="204"/>
                  </a:lnTo>
                  <a:lnTo>
                    <a:pt x="2260" y="0"/>
                  </a:lnTo>
                  <a:lnTo>
                    <a:pt x="0" y="276"/>
                  </a:lnTo>
                  <a:lnTo>
                    <a:pt x="2182" y="276"/>
                  </a:lnTo>
                  <a:lnTo>
                    <a:pt x="2182" y="276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hidden">
            <a:xfrm>
              <a:off x="4354" y="3869"/>
              <a:ext cx="1404" cy="378"/>
            </a:xfrm>
            <a:custGeom>
              <a:avLst/>
              <a:gdLst/>
              <a:ahLst/>
              <a:cxnLst>
                <a:cxn ang="0">
                  <a:pos x="1405" y="126"/>
                </a:cxn>
                <a:cxn ang="0">
                  <a:pos x="1405" y="0"/>
                </a:cxn>
                <a:cxn ang="0">
                  <a:pos x="0" y="174"/>
                </a:cxn>
                <a:cxn ang="0">
                  <a:pos x="257" y="378"/>
                </a:cxn>
                <a:cxn ang="0">
                  <a:pos x="1405" y="126"/>
                </a:cxn>
                <a:cxn ang="0">
                  <a:pos x="1405" y="126"/>
                </a:cxn>
              </a:cxnLst>
              <a:rect l="0" t="0" r="r" b="b"/>
              <a:pathLst>
                <a:path w="1405" h="378">
                  <a:moveTo>
                    <a:pt x="1405" y="126"/>
                  </a:moveTo>
                  <a:lnTo>
                    <a:pt x="1405" y="0"/>
                  </a:lnTo>
                  <a:lnTo>
                    <a:pt x="0" y="174"/>
                  </a:lnTo>
                  <a:lnTo>
                    <a:pt x="257" y="378"/>
                  </a:lnTo>
                  <a:lnTo>
                    <a:pt x="1405" y="126"/>
                  </a:lnTo>
                  <a:lnTo>
                    <a:pt x="1405" y="12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6863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hidden">
            <a:xfrm>
              <a:off x="5030" y="3151"/>
              <a:ext cx="728" cy="240"/>
            </a:xfrm>
            <a:custGeom>
              <a:avLst/>
              <a:gdLst/>
              <a:ahLst/>
              <a:cxnLst>
                <a:cxn ang="0">
                  <a:pos x="729" y="24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729" y="240"/>
                </a:cxn>
                <a:cxn ang="0">
                  <a:pos x="729" y="240"/>
                </a:cxn>
              </a:cxnLst>
              <a:rect l="0" t="0" r="r" b="b"/>
              <a:pathLst>
                <a:path w="729" h="240">
                  <a:moveTo>
                    <a:pt x="729" y="24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729" y="240"/>
                  </a:lnTo>
                  <a:lnTo>
                    <a:pt x="729" y="24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hidden">
            <a:xfrm>
              <a:off x="0" y="1486"/>
              <a:ext cx="5030" cy="1671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5035" y="1672"/>
                </a:cxn>
                <a:cxn ang="0">
                  <a:pos x="5035" y="1666"/>
                </a:cxn>
                <a:cxn ang="0">
                  <a:pos x="0" y="0"/>
                </a:cxn>
                <a:cxn ang="0">
                  <a:pos x="0" y="72"/>
                </a:cxn>
                <a:cxn ang="0">
                  <a:pos x="0" y="72"/>
                </a:cxn>
              </a:cxnLst>
              <a:rect l="0" t="0" r="r" b="b"/>
              <a:pathLst>
                <a:path w="5035" h="1672">
                  <a:moveTo>
                    <a:pt x="0" y="72"/>
                  </a:moveTo>
                  <a:lnTo>
                    <a:pt x="5035" y="1672"/>
                  </a:lnTo>
                  <a:lnTo>
                    <a:pt x="5035" y="1666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4510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hidden">
            <a:xfrm>
              <a:off x="5030" y="3049"/>
              <a:ext cx="728" cy="318"/>
            </a:xfrm>
            <a:custGeom>
              <a:avLst/>
              <a:gdLst/>
              <a:ahLst/>
              <a:cxnLst>
                <a:cxn ang="0">
                  <a:pos x="729" y="318"/>
                </a:cxn>
                <a:cxn ang="0">
                  <a:pos x="729" y="312"/>
                </a:cxn>
                <a:cxn ang="0">
                  <a:pos x="0" y="0"/>
                </a:cxn>
                <a:cxn ang="0">
                  <a:pos x="0" y="54"/>
                </a:cxn>
                <a:cxn ang="0">
                  <a:pos x="729" y="318"/>
                </a:cxn>
                <a:cxn ang="0">
                  <a:pos x="729" y="318"/>
                </a:cxn>
              </a:cxnLst>
              <a:rect l="0" t="0" r="r" b="b"/>
              <a:pathLst>
                <a:path w="729" h="318">
                  <a:moveTo>
                    <a:pt x="729" y="318"/>
                  </a:moveTo>
                  <a:lnTo>
                    <a:pt x="729" y="312"/>
                  </a:lnTo>
                  <a:lnTo>
                    <a:pt x="0" y="0"/>
                  </a:lnTo>
                  <a:lnTo>
                    <a:pt x="0" y="54"/>
                  </a:lnTo>
                  <a:lnTo>
                    <a:pt x="729" y="318"/>
                  </a:lnTo>
                  <a:lnTo>
                    <a:pt x="729" y="318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hidden">
            <a:xfrm>
              <a:off x="0" y="916"/>
              <a:ext cx="5030" cy="2187"/>
            </a:xfrm>
            <a:custGeom>
              <a:avLst/>
              <a:gdLst/>
              <a:ahLst/>
              <a:cxnLst>
                <a:cxn ang="0">
                  <a:pos x="0" y="396"/>
                </a:cxn>
                <a:cxn ang="0">
                  <a:pos x="5035" y="2188"/>
                </a:cxn>
                <a:cxn ang="0">
                  <a:pos x="5035" y="2134"/>
                </a:cxn>
                <a:cxn ang="0">
                  <a:pos x="0" y="0"/>
                </a:cxn>
                <a:cxn ang="0">
                  <a:pos x="0" y="396"/>
                </a:cxn>
                <a:cxn ang="0">
                  <a:pos x="0" y="396"/>
                </a:cxn>
              </a:cxnLst>
              <a:rect l="0" t="0" r="r" b="b"/>
              <a:pathLst>
                <a:path w="5035" h="2188">
                  <a:moveTo>
                    <a:pt x="0" y="396"/>
                  </a:moveTo>
                  <a:lnTo>
                    <a:pt x="5035" y="2188"/>
                  </a:lnTo>
                  <a:lnTo>
                    <a:pt x="5035" y="2134"/>
                  </a:lnTo>
                  <a:lnTo>
                    <a:pt x="0" y="0"/>
                  </a:lnTo>
                  <a:lnTo>
                    <a:pt x="0" y="396"/>
                  </a:lnTo>
                  <a:lnTo>
                    <a:pt x="0" y="39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hidden">
            <a:xfrm>
              <a:off x="2294" y="0"/>
              <a:ext cx="3159" cy="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145" y="2727"/>
                </a:cxn>
                <a:cxn ang="0">
                  <a:pos x="3163" y="2704"/>
                </a:cxn>
                <a:cxn ang="0">
                  <a:pos x="10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63" h="2727">
                  <a:moveTo>
                    <a:pt x="0" y="0"/>
                  </a:moveTo>
                  <a:lnTo>
                    <a:pt x="3145" y="2727"/>
                  </a:lnTo>
                  <a:lnTo>
                    <a:pt x="3163" y="2704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980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hidden">
            <a:xfrm>
              <a:off x="5435" y="2702"/>
              <a:ext cx="323" cy="299"/>
            </a:xfrm>
            <a:custGeom>
              <a:avLst/>
              <a:gdLst/>
              <a:ahLst/>
              <a:cxnLst>
                <a:cxn ang="0">
                  <a:pos x="323" y="299"/>
                </a:cxn>
                <a:cxn ang="0">
                  <a:pos x="323" y="263"/>
                </a:cxn>
                <a:cxn ang="0">
                  <a:pos x="18" y="0"/>
                </a:cxn>
                <a:cxn ang="0">
                  <a:pos x="0" y="23"/>
                </a:cxn>
                <a:cxn ang="0">
                  <a:pos x="323" y="299"/>
                </a:cxn>
                <a:cxn ang="0">
                  <a:pos x="323" y="299"/>
                </a:cxn>
              </a:cxnLst>
              <a:rect l="0" t="0" r="r" b="b"/>
              <a:pathLst>
                <a:path w="323" h="299">
                  <a:moveTo>
                    <a:pt x="323" y="299"/>
                  </a:moveTo>
                  <a:lnTo>
                    <a:pt x="323" y="263"/>
                  </a:lnTo>
                  <a:lnTo>
                    <a:pt x="18" y="0"/>
                  </a:lnTo>
                  <a:lnTo>
                    <a:pt x="0" y="23"/>
                  </a:lnTo>
                  <a:lnTo>
                    <a:pt x="323" y="299"/>
                  </a:lnTo>
                  <a:lnTo>
                    <a:pt x="323" y="299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4118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hidden">
            <a:xfrm>
              <a:off x="5477" y="2588"/>
              <a:ext cx="281" cy="335"/>
            </a:xfrm>
            <a:custGeom>
              <a:avLst/>
              <a:gdLst/>
              <a:ahLst/>
              <a:cxnLst>
                <a:cxn ang="0">
                  <a:pos x="281" y="335"/>
                </a:cxn>
                <a:cxn ang="0">
                  <a:pos x="281" y="173"/>
                </a:cxn>
                <a:cxn ang="0">
                  <a:pos x="96" y="0"/>
                </a:cxn>
                <a:cxn ang="0">
                  <a:pos x="0" y="90"/>
                </a:cxn>
                <a:cxn ang="0">
                  <a:pos x="281" y="335"/>
                </a:cxn>
                <a:cxn ang="0">
                  <a:pos x="281" y="335"/>
                </a:cxn>
              </a:cxnLst>
              <a:rect l="0" t="0" r="r" b="b"/>
              <a:pathLst>
                <a:path w="281" h="335">
                  <a:moveTo>
                    <a:pt x="281" y="335"/>
                  </a:moveTo>
                  <a:lnTo>
                    <a:pt x="281" y="173"/>
                  </a:lnTo>
                  <a:lnTo>
                    <a:pt x="96" y="0"/>
                  </a:lnTo>
                  <a:lnTo>
                    <a:pt x="0" y="90"/>
                  </a:lnTo>
                  <a:lnTo>
                    <a:pt x="281" y="335"/>
                  </a:lnTo>
                  <a:lnTo>
                    <a:pt x="281" y="33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22" name="Freeform 20"/>
            <p:cNvSpPr>
              <a:spLocks/>
            </p:cNvSpPr>
            <p:nvPr/>
          </p:nvSpPr>
          <p:spPr bwMode="hidden">
            <a:xfrm>
              <a:off x="2454" y="0"/>
              <a:ext cx="3119" cy="26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26" y="2680"/>
                </a:cxn>
                <a:cxn ang="0">
                  <a:pos x="3122" y="2590"/>
                </a:cxn>
                <a:cxn ang="0">
                  <a:pos x="383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22" h="2680">
                  <a:moveTo>
                    <a:pt x="0" y="0"/>
                  </a:moveTo>
                  <a:lnTo>
                    <a:pt x="3026" y="2680"/>
                  </a:lnTo>
                  <a:lnTo>
                    <a:pt x="3122" y="2590"/>
                  </a:lnTo>
                  <a:lnTo>
                    <a:pt x="38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hidden">
            <a:xfrm>
              <a:off x="5626" y="2534"/>
              <a:ext cx="132" cy="132"/>
            </a:xfrm>
            <a:custGeom>
              <a:avLst/>
              <a:gdLst/>
              <a:ahLst/>
              <a:cxnLst>
                <a:cxn ang="0">
                  <a:pos x="132" y="13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32" y="132"/>
                </a:cxn>
                <a:cxn ang="0">
                  <a:pos x="132" y="132"/>
                </a:cxn>
              </a:cxnLst>
              <a:rect l="0" t="0" r="r" b="b"/>
              <a:pathLst>
                <a:path w="132" h="132">
                  <a:moveTo>
                    <a:pt x="132" y="13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32" y="132"/>
                  </a:lnTo>
                  <a:lnTo>
                    <a:pt x="132" y="132"/>
                  </a:lnTo>
                  <a:close/>
                </a:path>
              </a:pathLst>
            </a:custGeom>
            <a:solidFill>
              <a:srgbClr val="FF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hidden">
            <a:xfrm>
              <a:off x="3112" y="0"/>
              <a:ext cx="2514" cy="253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517" y="2536"/>
                </a:cxn>
                <a:cxn ang="0">
                  <a:pos x="2517" y="2536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517" h="2536">
                  <a:moveTo>
                    <a:pt x="0" y="0"/>
                  </a:moveTo>
                  <a:lnTo>
                    <a:pt x="2517" y="2536"/>
                  </a:lnTo>
                  <a:lnTo>
                    <a:pt x="2517" y="2536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1373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hidden">
            <a:xfrm>
              <a:off x="3488" y="0"/>
              <a:ext cx="2198" cy="24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88" y="2482"/>
                </a:cxn>
                <a:cxn ang="0">
                  <a:pos x="2200" y="2476"/>
                </a:cxn>
                <a:cxn ang="0">
                  <a:pos x="317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200" h="2482">
                  <a:moveTo>
                    <a:pt x="0" y="0"/>
                  </a:moveTo>
                  <a:lnTo>
                    <a:pt x="2188" y="2482"/>
                  </a:lnTo>
                  <a:lnTo>
                    <a:pt x="2200" y="2476"/>
                  </a:lnTo>
                  <a:lnTo>
                    <a:pt x="31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hidden">
            <a:xfrm>
              <a:off x="5674" y="2474"/>
              <a:ext cx="84" cy="96"/>
            </a:xfrm>
            <a:custGeom>
              <a:avLst/>
              <a:gdLst/>
              <a:ahLst/>
              <a:cxnLst>
                <a:cxn ang="0">
                  <a:pos x="84" y="96"/>
                </a:cxn>
                <a:cxn ang="0">
                  <a:pos x="84" y="90"/>
                </a:cxn>
                <a:cxn ang="0">
                  <a:pos x="12" y="0"/>
                </a:cxn>
                <a:cxn ang="0">
                  <a:pos x="0" y="6"/>
                </a:cxn>
                <a:cxn ang="0">
                  <a:pos x="84" y="96"/>
                </a:cxn>
                <a:cxn ang="0">
                  <a:pos x="84" y="96"/>
                </a:cxn>
              </a:cxnLst>
              <a:rect l="0" t="0" r="r" b="b"/>
              <a:pathLst>
                <a:path w="84" h="96">
                  <a:moveTo>
                    <a:pt x="84" y="96"/>
                  </a:moveTo>
                  <a:lnTo>
                    <a:pt x="84" y="9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84" y="96"/>
                  </a:lnTo>
                  <a:lnTo>
                    <a:pt x="84" y="9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0980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hidden">
            <a:xfrm>
              <a:off x="5603" y="850"/>
              <a:ext cx="155" cy="516"/>
            </a:xfrm>
            <a:custGeom>
              <a:avLst/>
              <a:gdLst/>
              <a:ahLst/>
              <a:cxnLst>
                <a:cxn ang="0">
                  <a:pos x="155" y="516"/>
                </a:cxn>
                <a:cxn ang="0">
                  <a:pos x="155" y="204"/>
                </a:cxn>
                <a:cxn ang="0">
                  <a:pos x="77" y="0"/>
                </a:cxn>
                <a:cxn ang="0">
                  <a:pos x="0" y="192"/>
                </a:cxn>
                <a:cxn ang="0">
                  <a:pos x="155" y="516"/>
                </a:cxn>
                <a:cxn ang="0">
                  <a:pos x="155" y="516"/>
                </a:cxn>
              </a:cxnLst>
              <a:rect l="0" t="0" r="r" b="b"/>
              <a:pathLst>
                <a:path w="155" h="516">
                  <a:moveTo>
                    <a:pt x="155" y="516"/>
                  </a:moveTo>
                  <a:lnTo>
                    <a:pt x="155" y="204"/>
                  </a:lnTo>
                  <a:lnTo>
                    <a:pt x="77" y="0"/>
                  </a:lnTo>
                  <a:lnTo>
                    <a:pt x="0" y="192"/>
                  </a:lnTo>
                  <a:lnTo>
                    <a:pt x="155" y="516"/>
                  </a:lnTo>
                  <a:lnTo>
                    <a:pt x="155" y="516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hidden">
            <a:xfrm>
              <a:off x="5107" y="0"/>
              <a:ext cx="573" cy="10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97" y="1043"/>
                </a:cxn>
                <a:cxn ang="0">
                  <a:pos x="574" y="851"/>
                </a:cxn>
                <a:cxn ang="0">
                  <a:pos x="25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74" h="1043">
                  <a:moveTo>
                    <a:pt x="0" y="0"/>
                  </a:moveTo>
                  <a:lnTo>
                    <a:pt x="497" y="1043"/>
                  </a:lnTo>
                  <a:lnTo>
                    <a:pt x="574" y="851"/>
                  </a:lnTo>
                  <a:lnTo>
                    <a:pt x="25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hidden">
            <a:xfrm>
              <a:off x="5411" y="0"/>
              <a:ext cx="341" cy="796"/>
            </a:xfrm>
            <a:custGeom>
              <a:avLst/>
              <a:gdLst/>
              <a:ahLst/>
              <a:cxnLst>
                <a:cxn ang="0">
                  <a:pos x="144" y="0"/>
                </a:cxn>
                <a:cxn ang="0">
                  <a:pos x="0" y="0"/>
                </a:cxn>
                <a:cxn ang="0">
                  <a:pos x="287" y="797"/>
                </a:cxn>
                <a:cxn ang="0">
                  <a:pos x="341" y="653"/>
                </a:cxn>
                <a:cxn ang="0">
                  <a:pos x="144" y="0"/>
                </a:cxn>
                <a:cxn ang="0">
                  <a:pos x="144" y="0"/>
                </a:cxn>
              </a:cxnLst>
              <a:rect l="0" t="0" r="r" b="b"/>
              <a:pathLst>
                <a:path w="341" h="797">
                  <a:moveTo>
                    <a:pt x="144" y="0"/>
                  </a:moveTo>
                  <a:lnTo>
                    <a:pt x="0" y="0"/>
                  </a:lnTo>
                  <a:lnTo>
                    <a:pt x="287" y="797"/>
                  </a:lnTo>
                  <a:lnTo>
                    <a:pt x="341" y="653"/>
                  </a:lnTo>
                  <a:lnTo>
                    <a:pt x="144" y="0"/>
                  </a:lnTo>
                  <a:lnTo>
                    <a:pt x="144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980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hidden">
            <a:xfrm>
              <a:off x="5698" y="653"/>
              <a:ext cx="60" cy="311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60" y="312"/>
                </a:cxn>
                <a:cxn ang="0">
                  <a:pos x="60" y="6"/>
                </a:cxn>
                <a:cxn ang="0">
                  <a:pos x="54" y="0"/>
                </a:cxn>
                <a:cxn ang="0">
                  <a:pos x="0" y="144"/>
                </a:cxn>
                <a:cxn ang="0">
                  <a:pos x="0" y="144"/>
                </a:cxn>
              </a:cxnLst>
              <a:rect l="0" t="0" r="r" b="b"/>
              <a:pathLst>
                <a:path w="60" h="312">
                  <a:moveTo>
                    <a:pt x="0" y="144"/>
                  </a:moveTo>
                  <a:lnTo>
                    <a:pt x="60" y="312"/>
                  </a:lnTo>
                  <a:lnTo>
                    <a:pt x="60" y="6"/>
                  </a:lnTo>
                  <a:lnTo>
                    <a:pt x="54" y="0"/>
                  </a:lnTo>
                  <a:lnTo>
                    <a:pt x="0" y="14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hidden">
            <a:xfrm>
              <a:off x="2" y="1601"/>
              <a:ext cx="5752" cy="1864"/>
            </a:xfrm>
            <a:custGeom>
              <a:avLst/>
              <a:gdLst/>
              <a:ahLst/>
              <a:cxnLst>
                <a:cxn ang="0">
                  <a:pos x="0" y="371"/>
                </a:cxn>
                <a:cxn ang="0">
                  <a:pos x="5740" y="1864"/>
                </a:cxn>
                <a:cxn ang="0">
                  <a:pos x="5740" y="1834"/>
                </a:cxn>
                <a:cxn ang="0">
                  <a:pos x="0" y="0"/>
                </a:cxn>
                <a:cxn ang="0">
                  <a:pos x="0" y="371"/>
                </a:cxn>
                <a:cxn ang="0">
                  <a:pos x="0" y="371"/>
                </a:cxn>
              </a:cxnLst>
              <a:rect l="0" t="0" r="r" b="b"/>
              <a:pathLst>
                <a:path w="5740" h="1864">
                  <a:moveTo>
                    <a:pt x="0" y="371"/>
                  </a:moveTo>
                  <a:lnTo>
                    <a:pt x="5740" y="1864"/>
                  </a:lnTo>
                  <a:lnTo>
                    <a:pt x="5740" y="1834"/>
                  </a:lnTo>
                  <a:lnTo>
                    <a:pt x="0" y="0"/>
                  </a:lnTo>
                  <a:lnTo>
                    <a:pt x="0" y="371"/>
                  </a:lnTo>
                  <a:lnTo>
                    <a:pt x="0" y="371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352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32" name="Freeform 30"/>
            <p:cNvSpPr>
              <a:spLocks/>
            </p:cNvSpPr>
            <p:nvPr/>
          </p:nvSpPr>
          <p:spPr bwMode="hidden">
            <a:xfrm>
              <a:off x="5754" y="3483"/>
              <a:ext cx="6" cy="6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18F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33" name="Freeform 31"/>
            <p:cNvSpPr>
              <a:spLocks/>
            </p:cNvSpPr>
            <p:nvPr/>
          </p:nvSpPr>
          <p:spPr bwMode="hidden">
            <a:xfrm>
              <a:off x="2" y="2152"/>
              <a:ext cx="5752" cy="1337"/>
            </a:xfrm>
            <a:custGeom>
              <a:avLst/>
              <a:gdLst/>
              <a:ahLst/>
              <a:cxnLst>
                <a:cxn ang="0">
                  <a:pos x="0" y="366"/>
                </a:cxn>
                <a:cxn ang="0">
                  <a:pos x="5740" y="1337"/>
                </a:cxn>
                <a:cxn ang="0">
                  <a:pos x="5740" y="1331"/>
                </a:cxn>
                <a:cxn ang="0">
                  <a:pos x="0" y="0"/>
                </a:cxn>
                <a:cxn ang="0">
                  <a:pos x="0" y="366"/>
                </a:cxn>
                <a:cxn ang="0">
                  <a:pos x="0" y="366"/>
                </a:cxn>
              </a:cxnLst>
              <a:rect l="0" t="0" r="r" b="b"/>
              <a:pathLst>
                <a:path w="5740" h="1337">
                  <a:moveTo>
                    <a:pt x="0" y="366"/>
                  </a:moveTo>
                  <a:lnTo>
                    <a:pt x="5740" y="1337"/>
                  </a:lnTo>
                  <a:lnTo>
                    <a:pt x="5740" y="1331"/>
                  </a:lnTo>
                  <a:lnTo>
                    <a:pt x="0" y="0"/>
                  </a:lnTo>
                  <a:lnTo>
                    <a:pt x="0" y="366"/>
                  </a:lnTo>
                  <a:lnTo>
                    <a:pt x="0" y="366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hidden">
            <a:xfrm>
              <a:off x="2" y="3177"/>
              <a:ext cx="5752" cy="414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5740" y="414"/>
                </a:cxn>
                <a:cxn ang="0">
                  <a:pos x="5740" y="402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0" y="48"/>
                </a:cxn>
              </a:cxnLst>
              <a:rect l="0" t="0" r="r" b="b"/>
              <a:pathLst>
                <a:path w="5740" h="414">
                  <a:moveTo>
                    <a:pt x="0" y="48"/>
                  </a:moveTo>
                  <a:lnTo>
                    <a:pt x="5740" y="414"/>
                  </a:lnTo>
                  <a:lnTo>
                    <a:pt x="5740" y="402"/>
                  </a:lnTo>
                  <a:lnTo>
                    <a:pt x="0" y="0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35" name="Freeform 33"/>
            <p:cNvSpPr>
              <a:spLocks/>
            </p:cNvSpPr>
            <p:nvPr/>
          </p:nvSpPr>
          <p:spPr bwMode="hidden">
            <a:xfrm>
              <a:off x="1297" y="0"/>
              <a:ext cx="4457" cy="31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448" y="3177"/>
                </a:cxn>
                <a:cxn ang="0">
                  <a:pos x="4448" y="3153"/>
                </a:cxn>
                <a:cxn ang="0">
                  <a:pos x="125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448" h="3177">
                  <a:moveTo>
                    <a:pt x="0" y="0"/>
                  </a:moveTo>
                  <a:lnTo>
                    <a:pt x="4448" y="3177"/>
                  </a:lnTo>
                  <a:lnTo>
                    <a:pt x="4448" y="3153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862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hidden">
            <a:xfrm>
              <a:off x="3321" y="0"/>
              <a:ext cx="2433" cy="26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28" y="2614"/>
                </a:cxn>
                <a:cxn ang="0">
                  <a:pos x="2428" y="2608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428" h="2614">
                  <a:moveTo>
                    <a:pt x="0" y="0"/>
                  </a:moveTo>
                  <a:lnTo>
                    <a:pt x="2428" y="2614"/>
                  </a:lnTo>
                  <a:lnTo>
                    <a:pt x="2428" y="2608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37" name="Freeform 35"/>
            <p:cNvSpPr>
              <a:spLocks/>
            </p:cNvSpPr>
            <p:nvPr/>
          </p:nvSpPr>
          <p:spPr bwMode="hidden">
            <a:xfrm>
              <a:off x="3950" y="0"/>
              <a:ext cx="1804" cy="2464"/>
            </a:xfrm>
            <a:custGeom>
              <a:avLst/>
              <a:gdLst/>
              <a:ahLst/>
              <a:cxnLst>
                <a:cxn ang="0">
                  <a:pos x="485" y="0"/>
                </a:cxn>
                <a:cxn ang="0">
                  <a:pos x="0" y="0"/>
                </a:cxn>
                <a:cxn ang="0">
                  <a:pos x="1800" y="2464"/>
                </a:cxn>
                <a:cxn ang="0">
                  <a:pos x="1800" y="2248"/>
                </a:cxn>
                <a:cxn ang="0">
                  <a:pos x="1794" y="2248"/>
                </a:cxn>
                <a:cxn ang="0">
                  <a:pos x="485" y="0"/>
                </a:cxn>
                <a:cxn ang="0">
                  <a:pos x="485" y="0"/>
                </a:cxn>
              </a:cxnLst>
              <a:rect l="0" t="0" r="r" b="b"/>
              <a:pathLst>
                <a:path w="1800" h="2464">
                  <a:moveTo>
                    <a:pt x="485" y="0"/>
                  </a:moveTo>
                  <a:lnTo>
                    <a:pt x="0" y="0"/>
                  </a:lnTo>
                  <a:lnTo>
                    <a:pt x="1800" y="2464"/>
                  </a:lnTo>
                  <a:lnTo>
                    <a:pt x="1800" y="2248"/>
                  </a:lnTo>
                  <a:lnTo>
                    <a:pt x="1794" y="2248"/>
                  </a:lnTo>
                  <a:lnTo>
                    <a:pt x="485" y="0"/>
                  </a:lnTo>
                  <a:lnTo>
                    <a:pt x="485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hidden">
            <a:xfrm>
              <a:off x="4519" y="0"/>
              <a:ext cx="1235" cy="207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2" y="2074"/>
                </a:cxn>
                <a:cxn ang="0">
                  <a:pos x="1232" y="2038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232" h="2074">
                  <a:moveTo>
                    <a:pt x="0" y="0"/>
                  </a:moveTo>
                  <a:lnTo>
                    <a:pt x="1232" y="2074"/>
                  </a:lnTo>
                  <a:lnTo>
                    <a:pt x="1232" y="2038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764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39" name="Freeform 37"/>
            <p:cNvSpPr>
              <a:spLocks/>
            </p:cNvSpPr>
            <p:nvPr/>
          </p:nvSpPr>
          <p:spPr bwMode="hidden">
            <a:xfrm>
              <a:off x="4694" y="0"/>
              <a:ext cx="1060" cy="19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58" y="1936"/>
                </a:cxn>
                <a:cxn ang="0">
                  <a:pos x="1058" y="1930"/>
                </a:cxn>
                <a:cxn ang="0">
                  <a:pos x="54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058" h="1936">
                  <a:moveTo>
                    <a:pt x="0" y="0"/>
                  </a:moveTo>
                  <a:lnTo>
                    <a:pt x="1058" y="1936"/>
                  </a:lnTo>
                  <a:lnTo>
                    <a:pt x="1058" y="1930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hidden">
            <a:xfrm>
              <a:off x="4981" y="0"/>
              <a:ext cx="773" cy="1487"/>
            </a:xfrm>
            <a:custGeom>
              <a:avLst/>
              <a:gdLst/>
              <a:ahLst/>
              <a:cxnLst>
                <a:cxn ang="0">
                  <a:pos x="771" y="1433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771" y="1487"/>
                </a:cxn>
                <a:cxn ang="0">
                  <a:pos x="771" y="1433"/>
                </a:cxn>
                <a:cxn ang="0">
                  <a:pos x="771" y="1433"/>
                </a:cxn>
              </a:cxnLst>
              <a:rect l="0" t="0" r="r" b="b"/>
              <a:pathLst>
                <a:path w="771" h="1487">
                  <a:moveTo>
                    <a:pt x="771" y="1433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771" y="1487"/>
                  </a:lnTo>
                  <a:lnTo>
                    <a:pt x="771" y="1433"/>
                  </a:lnTo>
                  <a:lnTo>
                    <a:pt x="771" y="1433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882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grpSp>
          <p:nvGrpSpPr>
            <p:cNvPr id="3" name="Group 39"/>
            <p:cNvGrpSpPr>
              <a:grpSpLocks/>
            </p:cNvGrpSpPr>
            <p:nvPr userDrawn="1"/>
          </p:nvGrpSpPr>
          <p:grpSpPr bwMode="auto">
            <a:xfrm>
              <a:off x="0" y="1632"/>
              <a:ext cx="5758" cy="1858"/>
              <a:chOff x="0" y="1632"/>
              <a:chExt cx="5758" cy="1858"/>
            </a:xfrm>
          </p:grpSpPr>
          <p:sp>
            <p:nvSpPr>
              <p:cNvPr id="42" name="Freeform 40"/>
              <p:cNvSpPr>
                <a:spLocks/>
              </p:cNvSpPr>
              <p:nvPr/>
            </p:nvSpPr>
            <p:spPr bwMode="hidden">
              <a:xfrm>
                <a:off x="0" y="1632"/>
                <a:ext cx="3670" cy="13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66"/>
                  </a:cxn>
                  <a:cxn ang="0">
                    <a:pos x="3635" y="1313"/>
                  </a:cxn>
                  <a:cxn ang="0">
                    <a:pos x="3647" y="1235"/>
                  </a:cxn>
                  <a:cxn ang="0">
                    <a:pos x="3659" y="1163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659" h="1313">
                    <a:moveTo>
                      <a:pt x="0" y="0"/>
                    </a:moveTo>
                    <a:lnTo>
                      <a:pt x="0" y="366"/>
                    </a:lnTo>
                    <a:lnTo>
                      <a:pt x="3635" y="1313"/>
                    </a:lnTo>
                    <a:lnTo>
                      <a:pt x="3647" y="1235"/>
                    </a:lnTo>
                    <a:lnTo>
                      <a:pt x="3659" y="116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72549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BE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Freeform 41"/>
              <p:cNvSpPr>
                <a:spLocks/>
              </p:cNvSpPr>
              <p:nvPr/>
            </p:nvSpPr>
            <p:spPr bwMode="hidden">
              <a:xfrm>
                <a:off x="3646" y="2795"/>
                <a:ext cx="2112" cy="695"/>
              </a:xfrm>
              <a:custGeom>
                <a:avLst/>
                <a:gdLst/>
                <a:ahLst/>
                <a:cxnLst>
                  <a:cxn ang="0">
                    <a:pos x="2105" y="665"/>
                  </a:cxn>
                  <a:cxn ang="0">
                    <a:pos x="24" y="0"/>
                  </a:cxn>
                  <a:cxn ang="0">
                    <a:pos x="12" y="72"/>
                  </a:cxn>
                  <a:cxn ang="0">
                    <a:pos x="0" y="150"/>
                  </a:cxn>
                  <a:cxn ang="0">
                    <a:pos x="2105" y="695"/>
                  </a:cxn>
                  <a:cxn ang="0">
                    <a:pos x="2105" y="665"/>
                  </a:cxn>
                  <a:cxn ang="0">
                    <a:pos x="2105" y="665"/>
                  </a:cxn>
                </a:cxnLst>
                <a:rect l="0" t="0" r="r" b="b"/>
                <a:pathLst>
                  <a:path w="2105" h="695">
                    <a:moveTo>
                      <a:pt x="2105" y="665"/>
                    </a:moveTo>
                    <a:lnTo>
                      <a:pt x="24" y="0"/>
                    </a:lnTo>
                    <a:lnTo>
                      <a:pt x="12" y="72"/>
                    </a:lnTo>
                    <a:lnTo>
                      <a:pt x="0" y="150"/>
                    </a:lnTo>
                    <a:lnTo>
                      <a:pt x="2105" y="695"/>
                    </a:lnTo>
                    <a:lnTo>
                      <a:pt x="2105" y="665"/>
                    </a:lnTo>
                    <a:lnTo>
                      <a:pt x="2105" y="66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90980"/>
                      <a:invGamma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BE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6186" name="Rectangle 42"/>
          <p:cNvSpPr>
            <a:spLocks noGrp="1" noChangeArrowheads="1"/>
          </p:cNvSpPr>
          <p:nvPr>
            <p:ph type="ctrTitle" sz="quarter"/>
          </p:nvPr>
        </p:nvSpPr>
        <p:spPr>
          <a:xfrm>
            <a:off x="457200" y="1600200"/>
            <a:ext cx="8229600" cy="1828800"/>
          </a:xfrm>
        </p:spPr>
        <p:txBody>
          <a:bodyPr/>
          <a:lstStyle>
            <a:lvl1pPr>
              <a:defRPr sz="4800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6187" name="Rectangle 4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3600"/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4" name="Rectangle 44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45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46" name="Rectangle 4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D5CE25-AA7E-4B5D-A0E1-9FD6E475DBD8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FF6FD2-7B64-4A39-A6A1-68020A705E25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6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355667-C769-456E-A463-DAB74F439A9A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3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5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8BFC90-D8BB-4ABC-B4E1-098DF39613F9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7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8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0F9C7B-BCFC-4051-ABB6-D6B10C7082D1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4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EC9C3E-2CF1-49EE-B95C-6D698615B5BE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3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4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C1F2A9-863F-4BD3-91D0-77027327EBA1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DBF620-0FED-460E-B699-A26134B06B48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/>
              <a:pPr/>
              <a:t>7/11/2016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BE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D31838-1BE2-44CA-9C77-98259FD7F3E0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6AEE52-C4FC-4C9B-839D-AE1D5237F4DA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4AB1C2-562A-4B3B-8132-50024CC7DB6A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re. Image de la bibliothèqu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7814"/>
            <a:ext cx="8229600" cy="1143000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e l'image de la bibliothèque 2"/>
          <p:cNvSpPr>
            <a:spLocks noGrp="1"/>
          </p:cNvSpPr>
          <p:nvPr>
            <p:ph type="clipArt" sz="half" idx="1"/>
          </p:nvPr>
        </p:nvSpPr>
        <p:spPr>
          <a:xfrm>
            <a:off x="457200" y="1600203"/>
            <a:ext cx="4038600" cy="4530725"/>
          </a:xfrm>
        </p:spPr>
        <p:txBody>
          <a:bodyPr/>
          <a:lstStyle/>
          <a:p>
            <a:pPr lvl="0"/>
            <a:endParaRPr lang="fr-BE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648200" y="1600203"/>
            <a:ext cx="4038600" cy="4530725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5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7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61B1CD-5849-47E0-B5B0-9097A40A4874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5717F-8899-46C0-8C95-90297FD3A333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65EA2-CD35-4122-9DAB-08B2398BD6C1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5717F-8899-46C0-8C95-90297FD3A333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65EA2-CD35-4122-9DAB-08B2398BD6C1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6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5717F-8899-46C0-8C95-90297FD3A333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65EA2-CD35-4122-9DAB-08B2398BD6C1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5717F-8899-46C0-8C95-90297FD3A333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65EA2-CD35-4122-9DAB-08B2398BD6C1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5717F-8899-46C0-8C95-90297FD3A333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65EA2-CD35-4122-9DAB-08B2398BD6C1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5717F-8899-46C0-8C95-90297FD3A333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65EA2-CD35-4122-9DAB-08B2398BD6C1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/>
              <a:pPr/>
              <a:t>7/11/2016</a:t>
            </a:fld>
            <a:endParaRPr lang="fr-BE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5717F-8899-46C0-8C95-90297FD3A333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65EA2-CD35-4122-9DAB-08B2398BD6C1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5717F-8899-46C0-8C95-90297FD3A333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65EA2-CD35-4122-9DAB-08B2398BD6C1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BE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5717F-8899-46C0-8C95-90297FD3A333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65EA2-CD35-4122-9DAB-08B2398BD6C1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5717F-8899-46C0-8C95-90297FD3A333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65EA2-CD35-4122-9DAB-08B2398BD6C1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1"/>
            <a:ext cx="2057400" cy="5851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5717F-8899-46C0-8C95-90297FD3A333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C65EA2-CD35-4122-9DAB-08B2398BD6C1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17" name="Sous-titre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fr-FR" smtClean="0"/>
              <a:t>Cliquez pour modifier le style des sous-titres du masque</a:t>
            </a:r>
            <a:endParaRPr kumimoji="0" lang="en-US"/>
          </a:p>
        </p:txBody>
      </p:sp>
      <p:sp>
        <p:nvSpPr>
          <p:cNvPr id="30" name="Espace réservé de la date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>
                <a:solidFill>
                  <a:srgbClr val="DBF5F9">
                    <a:shade val="90000"/>
                  </a:srgbClr>
                </a:solidFill>
              </a:rPr>
              <a:pPr/>
              <a:t>7/11/2016</a:t>
            </a:fld>
            <a:endParaRPr lang="fr-BE">
              <a:solidFill>
                <a:srgbClr val="DBF5F9">
                  <a:shade val="90000"/>
                </a:srgbClr>
              </a:solidFill>
            </a:endParaRPr>
          </a:p>
        </p:txBody>
      </p:sp>
      <p:sp>
        <p:nvSpPr>
          <p:cNvPr id="19" name="Espace réservé du pied de page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srgbClr val="DBF5F9">
                  <a:shade val="90000"/>
                </a:srgbClr>
              </a:solidFill>
            </a:endParaRPr>
          </a:p>
        </p:txBody>
      </p:sp>
      <p:sp>
        <p:nvSpPr>
          <p:cNvPr id="27" name="Espace réservé du numéro de diapositive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>
                <a:solidFill>
                  <a:srgbClr val="DBF5F9">
                    <a:shade val="90000"/>
                  </a:srgbClr>
                </a:solidFill>
              </a:rPr>
              <a:pPr/>
              <a:t>‹N°›</a:t>
            </a:fld>
            <a:endParaRPr lang="fr-BE">
              <a:solidFill>
                <a:srgbClr val="DBF5F9">
                  <a:shade val="90000"/>
                </a:srgbClr>
              </a:solidFill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7/11/2016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‹N°›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>
                <a:solidFill>
                  <a:srgbClr val="DBF5F9">
                    <a:shade val="90000"/>
                  </a:srgbClr>
                </a:solidFill>
              </a:rPr>
              <a:pPr/>
              <a:t>7/11/2016</a:t>
            </a:fld>
            <a:endParaRPr lang="fr-BE">
              <a:solidFill>
                <a:srgbClr val="DBF5F9">
                  <a:shade val="9000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srgbClr val="DBF5F9">
                  <a:shade val="90000"/>
                </a:srgb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>
                <a:solidFill>
                  <a:srgbClr val="DBF5F9">
                    <a:shade val="90000"/>
                  </a:srgbClr>
                </a:solidFill>
              </a:rPr>
              <a:pPr/>
              <a:t>‹N°›</a:t>
            </a:fld>
            <a:endParaRPr lang="fr-BE">
              <a:solidFill>
                <a:srgbClr val="DBF5F9">
                  <a:shade val="90000"/>
                </a:srgbClr>
              </a:solidFill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704089"/>
            <a:ext cx="8229600" cy="1143000"/>
          </a:xfrm>
        </p:spPr>
        <p:txBody>
          <a:bodyPr/>
          <a:lstStyle/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7/11/2016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‹N°›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704089"/>
            <a:ext cx="8229600" cy="1143000"/>
          </a:xfrm>
        </p:spPr>
        <p:txBody>
          <a:bodyPr/>
          <a:lstStyle/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/>
              <a:pPr/>
              <a:t>7/11/2016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704089"/>
            <a:ext cx="82296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855249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3"/>
          </p:nvPr>
        </p:nvSpPr>
        <p:spPr>
          <a:xfrm>
            <a:off x="4645031" y="1859760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1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7/11/2016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‹N°›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704089"/>
            <a:ext cx="83058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7/11/2016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‹N°›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7/11/2016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‹N°›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7/11/2016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‹N°›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gner et arrondir un rectangle à un seul coin 8"/>
          <p:cNvSpPr/>
          <p:nvPr/>
        </p:nvSpPr>
        <p:spPr>
          <a:xfrm rot="420000" flipV="1">
            <a:off x="3165753" y="1108077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Triangle rectangle 11"/>
          <p:cNvSpPr/>
          <p:nvPr/>
        </p:nvSpPr>
        <p:spPr>
          <a:xfrm rot="420000" flipV="1">
            <a:off x="8004134" y="5359769"/>
            <a:ext cx="155448" cy="155448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7/11/2016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8077200" y="6356353"/>
            <a:ext cx="609600" cy="365125"/>
          </a:xfrm>
        </p:spPr>
        <p:txBody>
          <a:bodyPr/>
          <a:lstStyle/>
          <a:p>
            <a:fld id="{B90ADDF1-80E3-4177-A484-A83E420C2422}" type="slidenum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‹N°›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fr-FR" smtClean="0"/>
              <a:t>Cliquez sur l'icône pour ajouter une image</a:t>
            </a:r>
            <a:endParaRPr kumimoji="0" lang="en-US" dirty="0"/>
          </a:p>
        </p:txBody>
      </p:sp>
      <p:sp>
        <p:nvSpPr>
          <p:cNvPr id="10" name="Forme libre 9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Forme libre 10"/>
          <p:cNvSpPr>
            <a:spLocks/>
          </p:cNvSpPr>
          <p:nvPr/>
        </p:nvSpPr>
        <p:spPr bwMode="auto">
          <a:xfrm flipV="1">
            <a:off x="4381500" y="6219826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7/11/2016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‹N°›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914404"/>
            <a:ext cx="2057400" cy="5211763"/>
          </a:xfrm>
        </p:spPr>
        <p:txBody>
          <a:bodyPr vert="eaVert"/>
          <a:lstStyle/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914404"/>
            <a:ext cx="6019800" cy="5211763"/>
          </a:xfrm>
        </p:spPr>
        <p:txBody>
          <a:bodyPr vert="eaVert"/>
          <a:lstStyle/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7/11/2016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‹N°›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77374" y="6476211"/>
            <a:ext cx="288032" cy="365125"/>
          </a:xfrm>
          <a:prstGeom prst="rect">
            <a:avLst/>
          </a:prstGeom>
        </p:spPr>
        <p:txBody>
          <a:bodyPr/>
          <a:lstStyle/>
          <a:p>
            <a:fld id="{2FE18977-94FB-415F-B497-03350E8854FC}" type="slidenum">
              <a:rPr lang="en-GB" smtClean="0">
                <a:solidFill>
                  <a:srgbClr val="04617B">
                    <a:shade val="90000"/>
                  </a:srgbClr>
                </a:solidFill>
              </a:rPr>
              <a:pPr/>
              <a:t>‹N°›</a:t>
            </a:fld>
            <a:endParaRPr lang="en-GB" dirty="0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907" y="707460"/>
            <a:ext cx="7419454" cy="417287"/>
          </a:xfrm>
        </p:spPr>
        <p:txBody>
          <a:bodyPr/>
          <a:lstStyle>
            <a:lvl1pPr marL="0" indent="0">
              <a:buNone/>
              <a:defRPr sz="1800">
                <a:latin typeface="+mj-lt"/>
              </a:defRPr>
            </a:lvl1pPr>
            <a:lvl2pPr marL="358775" indent="0">
              <a:buNone/>
              <a:defRPr>
                <a:latin typeface="Cambria" pitchFamily="18" charset="0"/>
              </a:defRPr>
            </a:lvl2pPr>
            <a:lvl3pPr marL="717550" indent="0">
              <a:buNone/>
              <a:defRPr>
                <a:latin typeface="Cambria" pitchFamily="18" charset="0"/>
              </a:defRPr>
            </a:lvl3pPr>
            <a:lvl4pPr marL="1076325" indent="0">
              <a:buNone/>
              <a:defRPr>
                <a:latin typeface="Cambria" pitchFamily="18" charset="0"/>
              </a:defRPr>
            </a:lvl4pPr>
            <a:lvl5pPr marL="1435100" indent="0">
              <a:buNone/>
              <a:defRPr>
                <a:latin typeface="Cambria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763440" y="6476211"/>
            <a:ext cx="1084535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00 Month 0000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5288" y="6476211"/>
            <a:ext cx="1368152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Presentation title in footer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7662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77374" y="6476211"/>
            <a:ext cx="288032" cy="365125"/>
          </a:xfrm>
          <a:prstGeom prst="rect">
            <a:avLst/>
          </a:prstGeom>
        </p:spPr>
        <p:txBody>
          <a:bodyPr/>
          <a:lstStyle/>
          <a:p>
            <a:fld id="{2FE18977-94FB-415F-B497-03350E8854FC}" type="slidenum">
              <a:rPr lang="en-GB" smtClean="0">
                <a:solidFill>
                  <a:srgbClr val="04617B">
                    <a:shade val="90000"/>
                  </a:srgbClr>
                </a:solidFill>
              </a:rPr>
              <a:pPr/>
              <a:t>‹N°›</a:t>
            </a:fld>
            <a:endParaRPr lang="en-GB" dirty="0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907" y="707460"/>
            <a:ext cx="7419454" cy="417287"/>
          </a:xfrm>
        </p:spPr>
        <p:txBody>
          <a:bodyPr/>
          <a:lstStyle>
            <a:lvl1pPr marL="0" indent="0">
              <a:buNone/>
              <a:defRPr sz="1800">
                <a:latin typeface="+mj-lt"/>
              </a:defRPr>
            </a:lvl1pPr>
            <a:lvl2pPr marL="358775" indent="0">
              <a:buNone/>
              <a:defRPr>
                <a:latin typeface="Cambria" pitchFamily="18" charset="0"/>
              </a:defRPr>
            </a:lvl2pPr>
            <a:lvl3pPr marL="717550" indent="0">
              <a:buNone/>
              <a:defRPr>
                <a:latin typeface="Cambria" pitchFamily="18" charset="0"/>
              </a:defRPr>
            </a:lvl3pPr>
            <a:lvl4pPr marL="1076325" indent="0">
              <a:buNone/>
              <a:defRPr>
                <a:latin typeface="Cambria" pitchFamily="18" charset="0"/>
              </a:defRPr>
            </a:lvl4pPr>
            <a:lvl5pPr marL="1435100" indent="0">
              <a:buNone/>
              <a:defRPr>
                <a:latin typeface="Cambria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763440" y="6476211"/>
            <a:ext cx="1084535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00 Month 0000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5288" y="6476211"/>
            <a:ext cx="1368152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Presentation title in footer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7662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77374" y="6476211"/>
            <a:ext cx="288032" cy="365125"/>
          </a:xfrm>
          <a:prstGeom prst="rect">
            <a:avLst/>
          </a:prstGeom>
        </p:spPr>
        <p:txBody>
          <a:bodyPr/>
          <a:lstStyle/>
          <a:p>
            <a:fld id="{2FE18977-94FB-415F-B497-03350E8854FC}" type="slidenum">
              <a:rPr lang="en-GB" smtClean="0">
                <a:solidFill>
                  <a:srgbClr val="04617B">
                    <a:shade val="90000"/>
                  </a:srgbClr>
                </a:solidFill>
              </a:rPr>
              <a:pPr/>
              <a:t>‹N°›</a:t>
            </a:fld>
            <a:endParaRPr lang="en-GB" dirty="0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907" y="707460"/>
            <a:ext cx="7419454" cy="417287"/>
          </a:xfrm>
        </p:spPr>
        <p:txBody>
          <a:bodyPr/>
          <a:lstStyle>
            <a:lvl1pPr marL="0" indent="0">
              <a:buNone/>
              <a:defRPr sz="1800">
                <a:latin typeface="+mj-lt"/>
              </a:defRPr>
            </a:lvl1pPr>
            <a:lvl2pPr marL="358775" indent="0">
              <a:buNone/>
              <a:defRPr>
                <a:latin typeface="Cambria" pitchFamily="18" charset="0"/>
              </a:defRPr>
            </a:lvl2pPr>
            <a:lvl3pPr marL="717550" indent="0">
              <a:buNone/>
              <a:defRPr>
                <a:latin typeface="Cambria" pitchFamily="18" charset="0"/>
              </a:defRPr>
            </a:lvl3pPr>
            <a:lvl4pPr marL="1076325" indent="0">
              <a:buNone/>
              <a:defRPr>
                <a:latin typeface="Cambria" pitchFamily="18" charset="0"/>
              </a:defRPr>
            </a:lvl4pPr>
            <a:lvl5pPr marL="1435100" indent="0">
              <a:buNone/>
              <a:defRPr>
                <a:latin typeface="Cambria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763440" y="6476211"/>
            <a:ext cx="1084535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00 Month 0000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5288" y="6476211"/>
            <a:ext cx="1368152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smtClean="0">
                <a:solidFill>
                  <a:prstClr val="black"/>
                </a:solidFill>
              </a:rPr>
              <a:t>Presentation title in footer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355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704089"/>
            <a:ext cx="82296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855249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3"/>
          </p:nvPr>
        </p:nvSpPr>
        <p:spPr>
          <a:xfrm>
            <a:off x="4645031" y="1859760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1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/>
              <a:pPr/>
              <a:t>7/11/2016</a:t>
            </a:fld>
            <a:endParaRPr lang="fr-BE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77374" y="6476211"/>
            <a:ext cx="288032" cy="365125"/>
          </a:xfrm>
          <a:prstGeom prst="rect">
            <a:avLst/>
          </a:prstGeom>
        </p:spPr>
        <p:txBody>
          <a:bodyPr/>
          <a:lstStyle/>
          <a:p>
            <a:fld id="{2FE18977-94FB-415F-B497-03350E8854FC}" type="slidenum">
              <a:rPr lang="en-GB" smtClean="0">
                <a:solidFill>
                  <a:srgbClr val="04617B">
                    <a:shade val="90000"/>
                  </a:srgbClr>
                </a:solidFill>
              </a:rPr>
              <a:pPr/>
              <a:t>‹N°›</a:t>
            </a:fld>
            <a:endParaRPr lang="en-GB" dirty="0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907" y="707460"/>
            <a:ext cx="7419454" cy="417287"/>
          </a:xfrm>
        </p:spPr>
        <p:txBody>
          <a:bodyPr/>
          <a:lstStyle>
            <a:lvl1pPr marL="0" indent="0">
              <a:buNone/>
              <a:defRPr sz="1800">
                <a:latin typeface="+mj-lt"/>
              </a:defRPr>
            </a:lvl1pPr>
            <a:lvl2pPr marL="358775" indent="0">
              <a:buNone/>
              <a:defRPr>
                <a:latin typeface="Cambria" pitchFamily="18" charset="0"/>
              </a:defRPr>
            </a:lvl2pPr>
            <a:lvl3pPr marL="717550" indent="0">
              <a:buNone/>
              <a:defRPr>
                <a:latin typeface="Cambria" pitchFamily="18" charset="0"/>
              </a:defRPr>
            </a:lvl3pPr>
            <a:lvl4pPr marL="1076325" indent="0">
              <a:buNone/>
              <a:defRPr>
                <a:latin typeface="Cambria" pitchFamily="18" charset="0"/>
              </a:defRPr>
            </a:lvl4pPr>
            <a:lvl5pPr marL="1435100" indent="0">
              <a:buNone/>
              <a:defRPr>
                <a:latin typeface="Cambria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5289" y="1414466"/>
            <a:ext cx="8353425" cy="4897437"/>
          </a:xfrm>
        </p:spPr>
        <p:txBody>
          <a:bodyPr/>
          <a:lstStyle>
            <a:lvl1pPr>
              <a:spcBef>
                <a:spcPts val="2400"/>
              </a:spcBef>
              <a:defRPr sz="24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1763440" y="6476211"/>
            <a:ext cx="2737123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 smtClean="0">
                <a:solidFill>
                  <a:prstClr val="black"/>
                </a:solidFill>
              </a:rPr>
              <a:t>November 2013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5288" y="6476211"/>
            <a:ext cx="1368152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 smtClean="0">
                <a:solidFill>
                  <a:prstClr val="black"/>
                </a:solidFill>
              </a:rPr>
              <a:t>WHO Malaria Vaccine Tech. Roadmap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14996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412777"/>
            <a:ext cx="8352928" cy="489654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77375" y="6476211"/>
            <a:ext cx="288032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2FE18977-94FB-415F-B497-03350E8854FC}" type="slidenum">
              <a:rPr lang="en-GB" smtClean="0">
                <a:solidFill>
                  <a:srgbClr val="04617B">
                    <a:shade val="90000"/>
                  </a:srgbClr>
                </a:solidFill>
              </a:rPr>
              <a:pPr/>
              <a:t>‹N°›</a:t>
            </a:fld>
            <a:endParaRPr lang="en-GB" dirty="0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907" y="707460"/>
            <a:ext cx="7419454" cy="417287"/>
          </a:xfrm>
        </p:spPr>
        <p:txBody>
          <a:bodyPr/>
          <a:lstStyle>
            <a:lvl1pPr marL="0" indent="0">
              <a:buNone/>
              <a:defRPr sz="1800">
                <a:latin typeface="+mj-lt"/>
              </a:defRPr>
            </a:lvl1pPr>
            <a:lvl2pPr marL="358775" indent="0">
              <a:buNone/>
              <a:defRPr>
                <a:latin typeface="Cambria" pitchFamily="18" charset="0"/>
              </a:defRPr>
            </a:lvl2pPr>
            <a:lvl3pPr marL="717550" indent="0">
              <a:buNone/>
              <a:defRPr>
                <a:latin typeface="Cambria" pitchFamily="18" charset="0"/>
              </a:defRPr>
            </a:lvl3pPr>
            <a:lvl4pPr marL="1076325" indent="0">
              <a:buNone/>
              <a:defRPr>
                <a:latin typeface="Cambria" pitchFamily="18" charset="0"/>
              </a:defRPr>
            </a:lvl4pPr>
            <a:lvl5pPr marL="1435100" indent="0">
              <a:buNone/>
              <a:defRPr>
                <a:latin typeface="Cambria" pitchFamily="18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58116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8E368-1A87-4E7A-9D05-9B52677F7099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CC9A53-23A4-4145-AADB-C9B739ACC9EF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6591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8E368-1A87-4E7A-9D05-9B52677F7099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CC9A53-23A4-4145-AADB-C9B739ACC9EF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5637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8E368-1A87-4E7A-9D05-9B52677F7099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CC9A53-23A4-4145-AADB-C9B739ACC9EF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7348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8E368-1A87-4E7A-9D05-9B52677F7099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CC9A53-23A4-4145-AADB-C9B739ACC9EF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89554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8E368-1A87-4E7A-9D05-9B52677F7099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CC9A53-23A4-4145-AADB-C9B739ACC9EF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49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8E368-1A87-4E7A-9D05-9B52677F7099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CC9A53-23A4-4145-AADB-C9B739ACC9EF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51231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8E368-1A87-4E7A-9D05-9B52677F7099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CC9A53-23A4-4145-AADB-C9B739ACC9EF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82380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8E368-1A87-4E7A-9D05-9B52677F7099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CC9A53-23A4-4145-AADB-C9B739ACC9EF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0697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704089"/>
            <a:ext cx="83058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/>
              <a:pPr/>
              <a:t>7/11/2016</a:t>
            </a:fld>
            <a:endParaRPr lang="fr-BE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8E368-1A87-4E7A-9D05-9B52677F7099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CC9A53-23A4-4145-AADB-C9B739ACC9EF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43520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8E368-1A87-4E7A-9D05-9B52677F7099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CC9A53-23A4-4145-AADB-C9B739ACC9EF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04057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8E368-1A87-4E7A-9D05-9B52677F7099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CC9A53-23A4-4145-AADB-C9B739ACC9EF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15369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9144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" y="6334316"/>
            <a:ext cx="9144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2960" y="758952"/>
            <a:ext cx="75438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5038" y="4455621"/>
            <a:ext cx="75438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nl-NL" smtClean="0"/>
              <a:t>Klik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41306-6A92-4FF6-A4B2-69647241FCDB}" type="datetime1">
              <a:rPr lang="nl-BE" smtClean="0"/>
              <a:pPr/>
              <a:t>7/11/2016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‹N°›</a:t>
            </a:fld>
            <a:endParaRPr lang="nl-BE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761113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ED51B-D37D-4AD8-A9C2-2EE8E3A36220}" type="datetime1">
              <a:rPr lang="nl-BE" smtClean="0"/>
              <a:pPr/>
              <a:t>7/11/2016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‹N°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826404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ek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758952"/>
            <a:ext cx="75438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4453128"/>
            <a:ext cx="75438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9E1D66-A274-4910-AFC0-394AAC790A6D}" type="datetime1">
              <a:rPr lang="nl-BE" smtClean="0"/>
              <a:pPr/>
              <a:t>7/11/2016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‹N°›</a:t>
            </a:fld>
            <a:endParaRPr lang="nl-BE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022250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845735"/>
            <a:ext cx="3703320" cy="4023359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845735"/>
            <a:ext cx="3703320" cy="402336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79A81-1786-416F-A421-FFA4B31A6122}" type="datetime1">
              <a:rPr lang="nl-BE" smtClean="0"/>
              <a:pPr/>
              <a:t>7/11/2016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‹N°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1008583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2582335"/>
            <a:ext cx="3703320" cy="328676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2582334"/>
            <a:ext cx="3703320" cy="328676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2145D7-9888-4CCE-90A9-44C98A9A04EF}" type="datetime1">
              <a:rPr lang="nl-BE" smtClean="0"/>
              <a:pPr/>
              <a:t>7/11/2016</a:t>
            </a:fld>
            <a:endParaRPr lang="nl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‹N°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1200743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940704-5D6A-46C0-B1E3-0A4F3B1FCB9B}" type="datetime1">
              <a:rPr lang="nl-BE" smtClean="0"/>
              <a:pPr/>
              <a:t>7/11/2016</a:t>
            </a:fld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‹N°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63795380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776FE5-E416-4F21-A815-707138E31752}" type="datetime1">
              <a:rPr lang="nl-BE" smtClean="0"/>
              <a:pPr/>
              <a:t>7/11/2016</a:t>
            </a:fld>
            <a:endParaRPr lang="nl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nl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‹N°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528483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/>
              <a:pPr/>
              <a:t>7/11/2016</a:t>
            </a:fld>
            <a:endParaRPr lang="fr-BE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450" y="731520"/>
            <a:ext cx="4869180" cy="52578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6459786"/>
            <a:ext cx="1963883" cy="365125"/>
          </a:xfrm>
        </p:spPr>
        <p:txBody>
          <a:bodyPr/>
          <a:lstStyle>
            <a:lvl1pPr algn="l">
              <a:defRPr/>
            </a:lvl1pPr>
          </a:lstStyle>
          <a:p>
            <a:fld id="{29B9A35D-F188-4CA4-8883-1CD6AD6A9DD5}" type="datetime1">
              <a:rPr lang="nl-BE" smtClean="0"/>
              <a:pPr/>
              <a:t>7/11/2016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6459786"/>
            <a:ext cx="348615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nl-BE">
              <a:solidFill>
                <a:srgbClr val="344068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365E5BD-2EA5-4B9E-9D8C-B5B83A1B0375}" type="slidenum">
              <a:rPr lang="nl-BE" smtClean="0">
                <a:solidFill>
                  <a:srgbClr val="344068"/>
                </a:solidFill>
              </a:rPr>
              <a:pPr/>
              <a:t>‹N°›</a:t>
            </a:fld>
            <a:endParaRPr lang="nl-BE">
              <a:solidFill>
                <a:srgbClr val="3440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42096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5234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 smtClean="0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60" y="5907024"/>
            <a:ext cx="7584948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98B75-2107-40B9-B4FA-1C38355934DA}" type="datetime1">
              <a:rPr lang="nl-BE" smtClean="0"/>
              <a:pPr/>
              <a:t>7/11/2016</a:t>
            </a:fld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‹N°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071353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90D8C2-BDDE-4F99-8CAB-58526558DF9C}" type="datetime1">
              <a:rPr lang="nl-BE" smtClean="0"/>
              <a:pPr/>
              <a:t>7/11/2016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‹N°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6377023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2302"/>
            <a:ext cx="1971675" cy="5759898"/>
          </a:xfrm>
        </p:spPr>
        <p:txBody>
          <a:bodyPr vert="eaVert"/>
          <a:lstStyle/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2302"/>
            <a:ext cx="5800725" cy="5759898"/>
          </a:xfrm>
        </p:spPr>
        <p:txBody>
          <a:bodyPr vert="eaVert" lIns="45720" tIns="0" rIns="45720" bIns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DA281-3F7E-4A90-B1F9-0C533965A9A3}" type="datetime1">
              <a:rPr lang="nl-BE" smtClean="0"/>
              <a:pPr/>
              <a:t>7/11/2016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‹N°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783464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fr-FR" smtClean="0"/>
              <a:t>Cliquez pour modifier les styles du texte du masque</a:t>
            </a:r>
          </a:p>
          <a:p>
            <a:pPr lvl="1" eaLnBrk="1" latinLnBrk="0" hangingPunct="1"/>
            <a:r>
              <a:rPr lang="fr-FR" smtClean="0"/>
              <a:t>Deuxième niveau</a:t>
            </a:r>
          </a:p>
          <a:p>
            <a:pPr lvl="2" eaLnBrk="1" latinLnBrk="0" hangingPunct="1"/>
            <a:r>
              <a:rPr lang="fr-FR" smtClean="0"/>
              <a:t>Troisième niveau</a:t>
            </a:r>
          </a:p>
          <a:p>
            <a:pPr lvl="3" eaLnBrk="1" latinLnBrk="0" hangingPunct="1"/>
            <a:r>
              <a:rPr lang="fr-FR" smtClean="0"/>
              <a:t>Quatrième niveau</a:t>
            </a:r>
          </a:p>
          <a:p>
            <a:pPr lvl="4" eaLnBrk="1" latinLnBrk="0" hangingPunct="1"/>
            <a:r>
              <a:rPr lang="fr-FR" smtClean="0"/>
              <a:t>Cinquième niveau</a:t>
            </a:r>
            <a:endParaRPr kumimoji="0"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/>
              <a:pPr/>
              <a:t>7/11/2016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ADDF1-80E3-4177-A484-A83E420C2422}" type="slidenum">
              <a:rPr lang="fr-BE" smtClean="0"/>
              <a:pPr/>
              <a:t>‹N°›</a:t>
            </a:fld>
            <a:endParaRPr lang="fr-B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gner et arrondir un rectangle à un seul coin 8"/>
          <p:cNvSpPr/>
          <p:nvPr/>
        </p:nvSpPr>
        <p:spPr>
          <a:xfrm rot="420000" flipV="1">
            <a:off x="3165753" y="1108077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Triangle rectangle 11"/>
          <p:cNvSpPr/>
          <p:nvPr/>
        </p:nvSpPr>
        <p:spPr>
          <a:xfrm rot="420000" flipV="1">
            <a:off x="8004134" y="5359769"/>
            <a:ext cx="155448" cy="155448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2A30D-FA5D-48AB-A39A-6F543B9103FA}" type="datetimeFigureOut">
              <a:rPr lang="fr-BE" smtClean="0"/>
              <a:pPr/>
              <a:t>7/11/2016</a:t>
            </a:fld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8077200" y="6356353"/>
            <a:ext cx="609600" cy="365125"/>
          </a:xfrm>
        </p:spPr>
        <p:txBody>
          <a:bodyPr/>
          <a:lstStyle/>
          <a:p>
            <a:fld id="{B90ADDF1-80E3-4177-A484-A83E420C2422}" type="slidenum">
              <a:rPr lang="fr-BE" smtClean="0"/>
              <a:pPr/>
              <a:t>‹N°›</a:t>
            </a:fld>
            <a:endParaRPr lang="fr-BE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fr-FR" smtClean="0"/>
              <a:t>Cliquez sur l'icône pour ajouter une image</a:t>
            </a:r>
            <a:endParaRPr kumimoji="0" lang="en-US" dirty="0"/>
          </a:p>
        </p:txBody>
      </p:sp>
      <p:sp>
        <p:nvSpPr>
          <p:cNvPr id="10" name="Forme libre 9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Forme libre 10"/>
          <p:cNvSpPr>
            <a:spLocks/>
          </p:cNvSpPr>
          <p:nvPr/>
        </p:nvSpPr>
        <p:spPr bwMode="auto">
          <a:xfrm flipV="1">
            <a:off x="4381500" y="6219826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e libre 6"/>
          <p:cNvSpPr>
            <a:spLocks/>
          </p:cNvSpPr>
          <p:nvPr/>
        </p:nvSpPr>
        <p:spPr bwMode="auto">
          <a:xfrm>
            <a:off x="-9525" y="-7144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orme libre 7"/>
          <p:cNvSpPr>
            <a:spLocks/>
          </p:cNvSpPr>
          <p:nvPr/>
        </p:nvSpPr>
        <p:spPr bwMode="auto">
          <a:xfrm>
            <a:off x="4381500" y="-7144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457200" y="704089"/>
            <a:ext cx="82296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0" name="Espace réservé du texte 29"/>
          <p:cNvSpPr>
            <a:spLocks noGrp="1"/>
          </p:cNvSpPr>
          <p:nvPr>
            <p:ph type="body"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  <a:p>
            <a:pPr lvl="1" eaLnBrk="1" latinLnBrk="0" hangingPunct="1"/>
            <a:r>
              <a:rPr kumimoji="0" lang="fr-FR" smtClean="0"/>
              <a:t>Deuxième niveau</a:t>
            </a:r>
          </a:p>
          <a:p>
            <a:pPr lvl="2" eaLnBrk="1" latinLnBrk="0" hangingPunct="1"/>
            <a:r>
              <a:rPr kumimoji="0" lang="fr-FR" smtClean="0"/>
              <a:t>Troisième niveau</a:t>
            </a:r>
          </a:p>
          <a:p>
            <a:pPr lvl="3" eaLnBrk="1" latinLnBrk="0" hangingPunct="1"/>
            <a:r>
              <a:rPr kumimoji="0" lang="fr-FR" smtClean="0"/>
              <a:t>Quatrième niveau</a:t>
            </a:r>
          </a:p>
          <a:p>
            <a:pPr lvl="4" eaLnBrk="1" latinLnBrk="0" hangingPunct="1"/>
            <a:r>
              <a:rPr kumimoji="0" lang="fr-FR" smtClean="0"/>
              <a:t>Cinquième niveau</a:t>
            </a:r>
            <a:endParaRPr kumimoji="0" lang="en-US"/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2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D5E2A30D-FA5D-48AB-A39A-6F543B9103FA}" type="datetimeFigureOut">
              <a:rPr lang="fr-BE" smtClean="0"/>
              <a:pPr/>
              <a:t>7/11/2016</a:t>
            </a:fld>
            <a:endParaRPr lang="fr-BE"/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3"/>
          </p:nvPr>
        </p:nvSpPr>
        <p:spPr>
          <a:xfrm>
            <a:off x="2667000" y="6356353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endParaRPr lang="fr-BE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7924800" y="6356353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90ADDF1-80E3-4177-A484-A83E420C2422}" type="slidenum">
              <a:rPr lang="fr-BE" smtClean="0"/>
              <a:pPr/>
              <a:t>‹N°›</a:t>
            </a:fld>
            <a:endParaRPr lang="fr-BE"/>
          </a:p>
        </p:txBody>
      </p:sp>
      <p:grpSp>
        <p:nvGrpSpPr>
          <p:cNvPr id="2" name="Groupe 1"/>
          <p:cNvGrpSpPr/>
          <p:nvPr/>
        </p:nvGrpSpPr>
        <p:grpSpPr>
          <a:xfrm>
            <a:off x="-19017" y="202408"/>
            <a:ext cx="9180548" cy="649224"/>
            <a:chOff x="-19045" y="216550"/>
            <a:chExt cx="9180548" cy="649224"/>
          </a:xfrm>
        </p:grpSpPr>
        <p:sp>
          <p:nvSpPr>
            <p:cNvPr id="12" name="Forme libre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3" name="Forme libre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chemeClr val="bg1">
                <a:gamma/>
                <a:shade val="57647"/>
                <a:invGamma/>
              </a:schemeClr>
            </a:gs>
            <a:gs pos="100000">
              <a:schemeClr val="bg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3"/>
            <a:ext cx="9144000" cy="6856413"/>
            <a:chOff x="0" y="0"/>
            <a:chExt cx="5760" cy="4319"/>
          </a:xfrm>
        </p:grpSpPr>
        <p:sp>
          <p:nvSpPr>
            <p:cNvPr id="5123" name="Freeform 3"/>
            <p:cNvSpPr>
              <a:spLocks/>
            </p:cNvSpPr>
            <p:nvPr/>
          </p:nvSpPr>
          <p:spPr bwMode="hidden">
            <a:xfrm>
              <a:off x="0" y="12"/>
              <a:ext cx="5758" cy="3273"/>
            </a:xfrm>
            <a:custGeom>
              <a:avLst/>
              <a:gdLst/>
              <a:ahLst/>
              <a:cxnLst>
                <a:cxn ang="0">
                  <a:pos x="3193" y="1816"/>
                </a:cxn>
                <a:cxn ang="0">
                  <a:pos x="0" y="0"/>
                </a:cxn>
                <a:cxn ang="0">
                  <a:pos x="0" y="522"/>
                </a:cxn>
                <a:cxn ang="0">
                  <a:pos x="3037" y="1978"/>
                </a:cxn>
                <a:cxn ang="0">
                  <a:pos x="5740" y="3273"/>
                </a:cxn>
                <a:cxn ang="0">
                  <a:pos x="5740" y="3267"/>
                </a:cxn>
                <a:cxn ang="0">
                  <a:pos x="3193" y="1816"/>
                </a:cxn>
                <a:cxn ang="0">
                  <a:pos x="3193" y="1816"/>
                </a:cxn>
              </a:cxnLst>
              <a:rect l="0" t="0" r="r" b="b"/>
              <a:pathLst>
                <a:path w="5740" h="3273">
                  <a:moveTo>
                    <a:pt x="3193" y="1816"/>
                  </a:moveTo>
                  <a:lnTo>
                    <a:pt x="0" y="0"/>
                  </a:lnTo>
                  <a:lnTo>
                    <a:pt x="0" y="522"/>
                  </a:lnTo>
                  <a:lnTo>
                    <a:pt x="3037" y="1978"/>
                  </a:lnTo>
                  <a:lnTo>
                    <a:pt x="5740" y="3273"/>
                  </a:lnTo>
                  <a:lnTo>
                    <a:pt x="5740" y="3267"/>
                  </a:lnTo>
                  <a:lnTo>
                    <a:pt x="3193" y="1816"/>
                  </a:lnTo>
                  <a:lnTo>
                    <a:pt x="3193" y="181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3529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24" name="Freeform 4"/>
            <p:cNvSpPr>
              <a:spLocks/>
            </p:cNvSpPr>
            <p:nvPr/>
          </p:nvSpPr>
          <p:spPr bwMode="hidden">
            <a:xfrm>
              <a:off x="149" y="0"/>
              <a:ext cx="5609" cy="3243"/>
            </a:xfrm>
            <a:custGeom>
              <a:avLst/>
              <a:gdLst/>
              <a:ahLst/>
              <a:cxnLst>
                <a:cxn ang="0">
                  <a:pos x="3163" y="1714"/>
                </a:cxn>
                <a:cxn ang="0">
                  <a:pos x="431" y="0"/>
                </a:cxn>
                <a:cxn ang="0">
                  <a:pos x="0" y="0"/>
                </a:cxn>
                <a:cxn ang="0">
                  <a:pos x="3086" y="1786"/>
                </a:cxn>
                <a:cxn ang="0">
                  <a:pos x="5591" y="3243"/>
                </a:cxn>
                <a:cxn ang="0">
                  <a:pos x="5591" y="3237"/>
                </a:cxn>
                <a:cxn ang="0">
                  <a:pos x="3163" y="1714"/>
                </a:cxn>
                <a:cxn ang="0">
                  <a:pos x="3163" y="1714"/>
                </a:cxn>
              </a:cxnLst>
              <a:rect l="0" t="0" r="r" b="b"/>
              <a:pathLst>
                <a:path w="5591" h="3243">
                  <a:moveTo>
                    <a:pt x="3163" y="1714"/>
                  </a:moveTo>
                  <a:lnTo>
                    <a:pt x="431" y="0"/>
                  </a:lnTo>
                  <a:lnTo>
                    <a:pt x="0" y="0"/>
                  </a:lnTo>
                  <a:lnTo>
                    <a:pt x="3086" y="1786"/>
                  </a:lnTo>
                  <a:lnTo>
                    <a:pt x="5591" y="3243"/>
                  </a:lnTo>
                  <a:lnTo>
                    <a:pt x="5591" y="3237"/>
                  </a:lnTo>
                  <a:lnTo>
                    <a:pt x="3163" y="1714"/>
                  </a:lnTo>
                  <a:lnTo>
                    <a:pt x="3163" y="1714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25" name="Freeform 5"/>
            <p:cNvSpPr>
              <a:spLocks/>
            </p:cNvSpPr>
            <p:nvPr/>
          </p:nvSpPr>
          <p:spPr bwMode="hidden">
            <a:xfrm>
              <a:off x="0" y="3433"/>
              <a:ext cx="4038" cy="191"/>
            </a:xfrm>
            <a:custGeom>
              <a:avLst/>
              <a:gdLst/>
              <a:ahLst/>
              <a:cxnLst>
                <a:cxn ang="0">
                  <a:pos x="0" y="156"/>
                </a:cxn>
                <a:cxn ang="0">
                  <a:pos x="4042" y="192"/>
                </a:cxn>
                <a:cxn ang="0">
                  <a:pos x="4042" y="144"/>
                </a:cxn>
                <a:cxn ang="0">
                  <a:pos x="0" y="0"/>
                </a:cxn>
                <a:cxn ang="0">
                  <a:pos x="0" y="156"/>
                </a:cxn>
                <a:cxn ang="0">
                  <a:pos x="0" y="156"/>
                </a:cxn>
              </a:cxnLst>
              <a:rect l="0" t="0" r="r" b="b"/>
              <a:pathLst>
                <a:path w="4042" h="192">
                  <a:moveTo>
                    <a:pt x="0" y="156"/>
                  </a:moveTo>
                  <a:lnTo>
                    <a:pt x="4042" y="192"/>
                  </a:lnTo>
                  <a:lnTo>
                    <a:pt x="4042" y="144"/>
                  </a:lnTo>
                  <a:lnTo>
                    <a:pt x="0" y="0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5686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26" name="Freeform 6"/>
            <p:cNvSpPr>
              <a:spLocks/>
            </p:cNvSpPr>
            <p:nvPr/>
          </p:nvSpPr>
          <p:spPr bwMode="hidden">
            <a:xfrm>
              <a:off x="4038" y="3577"/>
              <a:ext cx="1720" cy="65"/>
            </a:xfrm>
            <a:custGeom>
              <a:avLst/>
              <a:gdLst/>
              <a:ahLst/>
              <a:cxnLst>
                <a:cxn ang="0">
                  <a:pos x="1722" y="66"/>
                </a:cxn>
                <a:cxn ang="0">
                  <a:pos x="1722" y="60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1722" y="66"/>
                </a:cxn>
                <a:cxn ang="0">
                  <a:pos x="1722" y="66"/>
                </a:cxn>
              </a:cxnLst>
              <a:rect l="0" t="0" r="r" b="b"/>
              <a:pathLst>
                <a:path w="1722" h="66">
                  <a:moveTo>
                    <a:pt x="1722" y="66"/>
                  </a:moveTo>
                  <a:lnTo>
                    <a:pt x="1722" y="60"/>
                  </a:lnTo>
                  <a:lnTo>
                    <a:pt x="0" y="0"/>
                  </a:lnTo>
                  <a:lnTo>
                    <a:pt x="0" y="48"/>
                  </a:lnTo>
                  <a:lnTo>
                    <a:pt x="1722" y="66"/>
                  </a:lnTo>
                  <a:lnTo>
                    <a:pt x="1722" y="66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27" name="Freeform 7"/>
            <p:cNvSpPr>
              <a:spLocks/>
            </p:cNvSpPr>
            <p:nvPr/>
          </p:nvSpPr>
          <p:spPr bwMode="hidden">
            <a:xfrm>
              <a:off x="0" y="3726"/>
              <a:ext cx="4784" cy="329"/>
            </a:xfrm>
            <a:custGeom>
              <a:avLst/>
              <a:gdLst/>
              <a:ahLst/>
              <a:cxnLst>
                <a:cxn ang="0">
                  <a:pos x="0" y="329"/>
                </a:cxn>
                <a:cxn ang="0">
                  <a:pos x="4789" y="77"/>
                </a:cxn>
                <a:cxn ang="0">
                  <a:pos x="4789" y="0"/>
                </a:cxn>
                <a:cxn ang="0">
                  <a:pos x="0" y="107"/>
                </a:cxn>
                <a:cxn ang="0">
                  <a:pos x="0" y="329"/>
                </a:cxn>
                <a:cxn ang="0">
                  <a:pos x="0" y="329"/>
                </a:cxn>
              </a:cxnLst>
              <a:rect l="0" t="0" r="r" b="b"/>
              <a:pathLst>
                <a:path w="4789" h="329">
                  <a:moveTo>
                    <a:pt x="0" y="329"/>
                  </a:moveTo>
                  <a:lnTo>
                    <a:pt x="4789" y="77"/>
                  </a:lnTo>
                  <a:lnTo>
                    <a:pt x="4789" y="0"/>
                  </a:lnTo>
                  <a:lnTo>
                    <a:pt x="0" y="107"/>
                  </a:lnTo>
                  <a:lnTo>
                    <a:pt x="0" y="329"/>
                  </a:lnTo>
                  <a:lnTo>
                    <a:pt x="0" y="329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1961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28" name="Freeform 8"/>
            <p:cNvSpPr>
              <a:spLocks/>
            </p:cNvSpPr>
            <p:nvPr/>
          </p:nvSpPr>
          <p:spPr bwMode="hidden">
            <a:xfrm>
              <a:off x="4784" y="3702"/>
              <a:ext cx="974" cy="101"/>
            </a:xfrm>
            <a:custGeom>
              <a:avLst/>
              <a:gdLst/>
              <a:ahLst/>
              <a:cxnLst>
                <a:cxn ang="0">
                  <a:pos x="975" y="48"/>
                </a:cxn>
                <a:cxn ang="0">
                  <a:pos x="975" y="0"/>
                </a:cxn>
                <a:cxn ang="0">
                  <a:pos x="0" y="24"/>
                </a:cxn>
                <a:cxn ang="0">
                  <a:pos x="0" y="101"/>
                </a:cxn>
                <a:cxn ang="0">
                  <a:pos x="975" y="48"/>
                </a:cxn>
                <a:cxn ang="0">
                  <a:pos x="975" y="48"/>
                </a:cxn>
              </a:cxnLst>
              <a:rect l="0" t="0" r="r" b="b"/>
              <a:pathLst>
                <a:path w="975" h="101">
                  <a:moveTo>
                    <a:pt x="975" y="48"/>
                  </a:moveTo>
                  <a:lnTo>
                    <a:pt x="975" y="0"/>
                  </a:lnTo>
                  <a:lnTo>
                    <a:pt x="0" y="24"/>
                  </a:lnTo>
                  <a:lnTo>
                    <a:pt x="0" y="101"/>
                  </a:lnTo>
                  <a:lnTo>
                    <a:pt x="975" y="48"/>
                  </a:lnTo>
                  <a:lnTo>
                    <a:pt x="975" y="4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29" name="Freeform 9"/>
            <p:cNvSpPr>
              <a:spLocks/>
            </p:cNvSpPr>
            <p:nvPr/>
          </p:nvSpPr>
          <p:spPr bwMode="hidden">
            <a:xfrm>
              <a:off x="3619" y="3815"/>
              <a:ext cx="2139" cy="198"/>
            </a:xfrm>
            <a:custGeom>
              <a:avLst/>
              <a:gdLst/>
              <a:ahLst/>
              <a:cxnLst>
                <a:cxn ang="0">
                  <a:pos x="2141" y="0"/>
                </a:cxn>
                <a:cxn ang="0">
                  <a:pos x="0" y="156"/>
                </a:cxn>
                <a:cxn ang="0">
                  <a:pos x="0" y="198"/>
                </a:cxn>
                <a:cxn ang="0">
                  <a:pos x="2141" y="0"/>
                </a:cxn>
                <a:cxn ang="0">
                  <a:pos x="2141" y="0"/>
                </a:cxn>
              </a:cxnLst>
              <a:rect l="0" t="0" r="r" b="b"/>
              <a:pathLst>
                <a:path w="2141" h="198">
                  <a:moveTo>
                    <a:pt x="2141" y="0"/>
                  </a:moveTo>
                  <a:lnTo>
                    <a:pt x="0" y="156"/>
                  </a:lnTo>
                  <a:lnTo>
                    <a:pt x="0" y="198"/>
                  </a:lnTo>
                  <a:lnTo>
                    <a:pt x="2141" y="0"/>
                  </a:lnTo>
                  <a:lnTo>
                    <a:pt x="214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30" name="Freeform 10"/>
            <p:cNvSpPr>
              <a:spLocks/>
            </p:cNvSpPr>
            <p:nvPr/>
          </p:nvSpPr>
          <p:spPr bwMode="hidden">
            <a:xfrm>
              <a:off x="0" y="3971"/>
              <a:ext cx="3619" cy="348"/>
            </a:xfrm>
            <a:custGeom>
              <a:avLst/>
              <a:gdLst/>
              <a:ahLst/>
              <a:cxnLst>
                <a:cxn ang="0">
                  <a:pos x="0" y="348"/>
                </a:cxn>
                <a:cxn ang="0">
                  <a:pos x="311" y="348"/>
                </a:cxn>
                <a:cxn ang="0">
                  <a:pos x="3623" y="42"/>
                </a:cxn>
                <a:cxn ang="0">
                  <a:pos x="3623" y="0"/>
                </a:cxn>
                <a:cxn ang="0">
                  <a:pos x="0" y="264"/>
                </a:cxn>
                <a:cxn ang="0">
                  <a:pos x="0" y="348"/>
                </a:cxn>
                <a:cxn ang="0">
                  <a:pos x="0" y="348"/>
                </a:cxn>
              </a:cxnLst>
              <a:rect l="0" t="0" r="r" b="b"/>
              <a:pathLst>
                <a:path w="3623" h="348">
                  <a:moveTo>
                    <a:pt x="0" y="348"/>
                  </a:moveTo>
                  <a:lnTo>
                    <a:pt x="311" y="348"/>
                  </a:lnTo>
                  <a:lnTo>
                    <a:pt x="3623" y="42"/>
                  </a:lnTo>
                  <a:lnTo>
                    <a:pt x="3623" y="0"/>
                  </a:lnTo>
                  <a:lnTo>
                    <a:pt x="0" y="264"/>
                  </a:lnTo>
                  <a:lnTo>
                    <a:pt x="0" y="348"/>
                  </a:lnTo>
                  <a:lnTo>
                    <a:pt x="0" y="3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31" name="Freeform 11"/>
            <p:cNvSpPr>
              <a:spLocks/>
            </p:cNvSpPr>
            <p:nvPr/>
          </p:nvSpPr>
          <p:spPr bwMode="hidden">
            <a:xfrm>
              <a:off x="2097" y="4043"/>
              <a:ext cx="2514" cy="276"/>
            </a:xfrm>
            <a:custGeom>
              <a:avLst/>
              <a:gdLst/>
              <a:ahLst/>
              <a:cxnLst>
                <a:cxn ang="0">
                  <a:pos x="2182" y="276"/>
                </a:cxn>
                <a:cxn ang="0">
                  <a:pos x="2517" y="204"/>
                </a:cxn>
                <a:cxn ang="0">
                  <a:pos x="2260" y="0"/>
                </a:cxn>
                <a:cxn ang="0">
                  <a:pos x="0" y="276"/>
                </a:cxn>
                <a:cxn ang="0">
                  <a:pos x="2182" y="276"/>
                </a:cxn>
                <a:cxn ang="0">
                  <a:pos x="2182" y="276"/>
                </a:cxn>
              </a:cxnLst>
              <a:rect l="0" t="0" r="r" b="b"/>
              <a:pathLst>
                <a:path w="2517" h="276">
                  <a:moveTo>
                    <a:pt x="2182" y="276"/>
                  </a:moveTo>
                  <a:lnTo>
                    <a:pt x="2517" y="204"/>
                  </a:lnTo>
                  <a:lnTo>
                    <a:pt x="2260" y="0"/>
                  </a:lnTo>
                  <a:lnTo>
                    <a:pt x="0" y="276"/>
                  </a:lnTo>
                  <a:lnTo>
                    <a:pt x="2182" y="276"/>
                  </a:lnTo>
                  <a:lnTo>
                    <a:pt x="2182" y="276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32" name="Freeform 12"/>
            <p:cNvSpPr>
              <a:spLocks/>
            </p:cNvSpPr>
            <p:nvPr/>
          </p:nvSpPr>
          <p:spPr bwMode="hidden">
            <a:xfrm>
              <a:off x="4354" y="3869"/>
              <a:ext cx="1404" cy="378"/>
            </a:xfrm>
            <a:custGeom>
              <a:avLst/>
              <a:gdLst/>
              <a:ahLst/>
              <a:cxnLst>
                <a:cxn ang="0">
                  <a:pos x="1405" y="126"/>
                </a:cxn>
                <a:cxn ang="0">
                  <a:pos x="1405" y="0"/>
                </a:cxn>
                <a:cxn ang="0">
                  <a:pos x="0" y="174"/>
                </a:cxn>
                <a:cxn ang="0">
                  <a:pos x="257" y="378"/>
                </a:cxn>
                <a:cxn ang="0">
                  <a:pos x="1405" y="126"/>
                </a:cxn>
                <a:cxn ang="0">
                  <a:pos x="1405" y="126"/>
                </a:cxn>
              </a:cxnLst>
              <a:rect l="0" t="0" r="r" b="b"/>
              <a:pathLst>
                <a:path w="1405" h="378">
                  <a:moveTo>
                    <a:pt x="1405" y="126"/>
                  </a:moveTo>
                  <a:lnTo>
                    <a:pt x="1405" y="0"/>
                  </a:lnTo>
                  <a:lnTo>
                    <a:pt x="0" y="174"/>
                  </a:lnTo>
                  <a:lnTo>
                    <a:pt x="257" y="378"/>
                  </a:lnTo>
                  <a:lnTo>
                    <a:pt x="1405" y="126"/>
                  </a:lnTo>
                  <a:lnTo>
                    <a:pt x="1405" y="12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6863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33" name="Freeform 13"/>
            <p:cNvSpPr>
              <a:spLocks/>
            </p:cNvSpPr>
            <p:nvPr/>
          </p:nvSpPr>
          <p:spPr bwMode="hidden">
            <a:xfrm>
              <a:off x="5030" y="3151"/>
              <a:ext cx="728" cy="240"/>
            </a:xfrm>
            <a:custGeom>
              <a:avLst/>
              <a:gdLst/>
              <a:ahLst/>
              <a:cxnLst>
                <a:cxn ang="0">
                  <a:pos x="729" y="24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729" y="240"/>
                </a:cxn>
                <a:cxn ang="0">
                  <a:pos x="729" y="240"/>
                </a:cxn>
              </a:cxnLst>
              <a:rect l="0" t="0" r="r" b="b"/>
              <a:pathLst>
                <a:path w="729" h="240">
                  <a:moveTo>
                    <a:pt x="729" y="24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729" y="240"/>
                  </a:lnTo>
                  <a:lnTo>
                    <a:pt x="729" y="24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34" name="Freeform 14"/>
            <p:cNvSpPr>
              <a:spLocks/>
            </p:cNvSpPr>
            <p:nvPr/>
          </p:nvSpPr>
          <p:spPr bwMode="hidden">
            <a:xfrm>
              <a:off x="0" y="1486"/>
              <a:ext cx="5030" cy="1671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5035" y="1672"/>
                </a:cxn>
                <a:cxn ang="0">
                  <a:pos x="5035" y="1666"/>
                </a:cxn>
                <a:cxn ang="0">
                  <a:pos x="0" y="0"/>
                </a:cxn>
                <a:cxn ang="0">
                  <a:pos x="0" y="72"/>
                </a:cxn>
                <a:cxn ang="0">
                  <a:pos x="0" y="72"/>
                </a:cxn>
              </a:cxnLst>
              <a:rect l="0" t="0" r="r" b="b"/>
              <a:pathLst>
                <a:path w="5035" h="1672">
                  <a:moveTo>
                    <a:pt x="0" y="72"/>
                  </a:moveTo>
                  <a:lnTo>
                    <a:pt x="5035" y="1672"/>
                  </a:lnTo>
                  <a:lnTo>
                    <a:pt x="5035" y="1666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4510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35" name="Freeform 15"/>
            <p:cNvSpPr>
              <a:spLocks/>
            </p:cNvSpPr>
            <p:nvPr/>
          </p:nvSpPr>
          <p:spPr bwMode="hidden">
            <a:xfrm>
              <a:off x="5030" y="3049"/>
              <a:ext cx="728" cy="318"/>
            </a:xfrm>
            <a:custGeom>
              <a:avLst/>
              <a:gdLst/>
              <a:ahLst/>
              <a:cxnLst>
                <a:cxn ang="0">
                  <a:pos x="729" y="318"/>
                </a:cxn>
                <a:cxn ang="0">
                  <a:pos x="729" y="312"/>
                </a:cxn>
                <a:cxn ang="0">
                  <a:pos x="0" y="0"/>
                </a:cxn>
                <a:cxn ang="0">
                  <a:pos x="0" y="54"/>
                </a:cxn>
                <a:cxn ang="0">
                  <a:pos x="729" y="318"/>
                </a:cxn>
                <a:cxn ang="0">
                  <a:pos x="729" y="318"/>
                </a:cxn>
              </a:cxnLst>
              <a:rect l="0" t="0" r="r" b="b"/>
              <a:pathLst>
                <a:path w="729" h="318">
                  <a:moveTo>
                    <a:pt x="729" y="318"/>
                  </a:moveTo>
                  <a:lnTo>
                    <a:pt x="729" y="312"/>
                  </a:lnTo>
                  <a:lnTo>
                    <a:pt x="0" y="0"/>
                  </a:lnTo>
                  <a:lnTo>
                    <a:pt x="0" y="54"/>
                  </a:lnTo>
                  <a:lnTo>
                    <a:pt x="729" y="318"/>
                  </a:lnTo>
                  <a:lnTo>
                    <a:pt x="729" y="318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36" name="Freeform 16"/>
            <p:cNvSpPr>
              <a:spLocks/>
            </p:cNvSpPr>
            <p:nvPr/>
          </p:nvSpPr>
          <p:spPr bwMode="hidden">
            <a:xfrm>
              <a:off x="0" y="916"/>
              <a:ext cx="5030" cy="2187"/>
            </a:xfrm>
            <a:custGeom>
              <a:avLst/>
              <a:gdLst/>
              <a:ahLst/>
              <a:cxnLst>
                <a:cxn ang="0">
                  <a:pos x="0" y="396"/>
                </a:cxn>
                <a:cxn ang="0">
                  <a:pos x="5035" y="2188"/>
                </a:cxn>
                <a:cxn ang="0">
                  <a:pos x="5035" y="2134"/>
                </a:cxn>
                <a:cxn ang="0">
                  <a:pos x="0" y="0"/>
                </a:cxn>
                <a:cxn ang="0">
                  <a:pos x="0" y="396"/>
                </a:cxn>
                <a:cxn ang="0">
                  <a:pos x="0" y="396"/>
                </a:cxn>
              </a:cxnLst>
              <a:rect l="0" t="0" r="r" b="b"/>
              <a:pathLst>
                <a:path w="5035" h="2188">
                  <a:moveTo>
                    <a:pt x="0" y="396"/>
                  </a:moveTo>
                  <a:lnTo>
                    <a:pt x="5035" y="2188"/>
                  </a:lnTo>
                  <a:lnTo>
                    <a:pt x="5035" y="2134"/>
                  </a:lnTo>
                  <a:lnTo>
                    <a:pt x="0" y="0"/>
                  </a:lnTo>
                  <a:lnTo>
                    <a:pt x="0" y="396"/>
                  </a:lnTo>
                  <a:lnTo>
                    <a:pt x="0" y="39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37" name="Freeform 17"/>
            <p:cNvSpPr>
              <a:spLocks/>
            </p:cNvSpPr>
            <p:nvPr/>
          </p:nvSpPr>
          <p:spPr bwMode="hidden">
            <a:xfrm>
              <a:off x="2294" y="0"/>
              <a:ext cx="3159" cy="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145" y="2727"/>
                </a:cxn>
                <a:cxn ang="0">
                  <a:pos x="3163" y="2704"/>
                </a:cxn>
                <a:cxn ang="0">
                  <a:pos x="10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63" h="2727">
                  <a:moveTo>
                    <a:pt x="0" y="0"/>
                  </a:moveTo>
                  <a:lnTo>
                    <a:pt x="3145" y="2727"/>
                  </a:lnTo>
                  <a:lnTo>
                    <a:pt x="3163" y="2704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980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38" name="Freeform 18"/>
            <p:cNvSpPr>
              <a:spLocks/>
            </p:cNvSpPr>
            <p:nvPr/>
          </p:nvSpPr>
          <p:spPr bwMode="hidden">
            <a:xfrm>
              <a:off x="5435" y="2702"/>
              <a:ext cx="323" cy="299"/>
            </a:xfrm>
            <a:custGeom>
              <a:avLst/>
              <a:gdLst/>
              <a:ahLst/>
              <a:cxnLst>
                <a:cxn ang="0">
                  <a:pos x="323" y="299"/>
                </a:cxn>
                <a:cxn ang="0">
                  <a:pos x="323" y="263"/>
                </a:cxn>
                <a:cxn ang="0">
                  <a:pos x="18" y="0"/>
                </a:cxn>
                <a:cxn ang="0">
                  <a:pos x="0" y="23"/>
                </a:cxn>
                <a:cxn ang="0">
                  <a:pos x="323" y="299"/>
                </a:cxn>
                <a:cxn ang="0">
                  <a:pos x="323" y="299"/>
                </a:cxn>
              </a:cxnLst>
              <a:rect l="0" t="0" r="r" b="b"/>
              <a:pathLst>
                <a:path w="323" h="299">
                  <a:moveTo>
                    <a:pt x="323" y="299"/>
                  </a:moveTo>
                  <a:lnTo>
                    <a:pt x="323" y="263"/>
                  </a:lnTo>
                  <a:lnTo>
                    <a:pt x="18" y="0"/>
                  </a:lnTo>
                  <a:lnTo>
                    <a:pt x="0" y="23"/>
                  </a:lnTo>
                  <a:lnTo>
                    <a:pt x="323" y="299"/>
                  </a:lnTo>
                  <a:lnTo>
                    <a:pt x="323" y="299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4118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39" name="Freeform 19"/>
            <p:cNvSpPr>
              <a:spLocks/>
            </p:cNvSpPr>
            <p:nvPr/>
          </p:nvSpPr>
          <p:spPr bwMode="hidden">
            <a:xfrm>
              <a:off x="5477" y="2588"/>
              <a:ext cx="281" cy="335"/>
            </a:xfrm>
            <a:custGeom>
              <a:avLst/>
              <a:gdLst/>
              <a:ahLst/>
              <a:cxnLst>
                <a:cxn ang="0">
                  <a:pos x="281" y="335"/>
                </a:cxn>
                <a:cxn ang="0">
                  <a:pos x="281" y="173"/>
                </a:cxn>
                <a:cxn ang="0">
                  <a:pos x="96" y="0"/>
                </a:cxn>
                <a:cxn ang="0">
                  <a:pos x="0" y="90"/>
                </a:cxn>
                <a:cxn ang="0">
                  <a:pos x="281" y="335"/>
                </a:cxn>
                <a:cxn ang="0">
                  <a:pos x="281" y="335"/>
                </a:cxn>
              </a:cxnLst>
              <a:rect l="0" t="0" r="r" b="b"/>
              <a:pathLst>
                <a:path w="281" h="335">
                  <a:moveTo>
                    <a:pt x="281" y="335"/>
                  </a:moveTo>
                  <a:lnTo>
                    <a:pt x="281" y="173"/>
                  </a:lnTo>
                  <a:lnTo>
                    <a:pt x="96" y="0"/>
                  </a:lnTo>
                  <a:lnTo>
                    <a:pt x="0" y="90"/>
                  </a:lnTo>
                  <a:lnTo>
                    <a:pt x="281" y="335"/>
                  </a:lnTo>
                  <a:lnTo>
                    <a:pt x="281" y="33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40" name="Freeform 20"/>
            <p:cNvSpPr>
              <a:spLocks/>
            </p:cNvSpPr>
            <p:nvPr/>
          </p:nvSpPr>
          <p:spPr bwMode="hidden">
            <a:xfrm>
              <a:off x="2454" y="0"/>
              <a:ext cx="3119" cy="26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26" y="2680"/>
                </a:cxn>
                <a:cxn ang="0">
                  <a:pos x="3122" y="2590"/>
                </a:cxn>
                <a:cxn ang="0">
                  <a:pos x="383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22" h="2680">
                  <a:moveTo>
                    <a:pt x="0" y="0"/>
                  </a:moveTo>
                  <a:lnTo>
                    <a:pt x="3026" y="2680"/>
                  </a:lnTo>
                  <a:lnTo>
                    <a:pt x="3122" y="2590"/>
                  </a:lnTo>
                  <a:lnTo>
                    <a:pt x="38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41" name="Freeform 21"/>
            <p:cNvSpPr>
              <a:spLocks/>
            </p:cNvSpPr>
            <p:nvPr/>
          </p:nvSpPr>
          <p:spPr bwMode="hidden">
            <a:xfrm>
              <a:off x="5626" y="2534"/>
              <a:ext cx="132" cy="132"/>
            </a:xfrm>
            <a:custGeom>
              <a:avLst/>
              <a:gdLst/>
              <a:ahLst/>
              <a:cxnLst>
                <a:cxn ang="0">
                  <a:pos x="132" y="13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32" y="132"/>
                </a:cxn>
                <a:cxn ang="0">
                  <a:pos x="132" y="132"/>
                </a:cxn>
              </a:cxnLst>
              <a:rect l="0" t="0" r="r" b="b"/>
              <a:pathLst>
                <a:path w="132" h="132">
                  <a:moveTo>
                    <a:pt x="132" y="13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32" y="132"/>
                  </a:lnTo>
                  <a:lnTo>
                    <a:pt x="132" y="132"/>
                  </a:lnTo>
                  <a:close/>
                </a:path>
              </a:pathLst>
            </a:custGeom>
            <a:solidFill>
              <a:srgbClr val="FF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42" name="Freeform 22"/>
            <p:cNvSpPr>
              <a:spLocks/>
            </p:cNvSpPr>
            <p:nvPr/>
          </p:nvSpPr>
          <p:spPr bwMode="hidden">
            <a:xfrm>
              <a:off x="3112" y="0"/>
              <a:ext cx="2514" cy="253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517" y="2536"/>
                </a:cxn>
                <a:cxn ang="0">
                  <a:pos x="2517" y="2536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517" h="2536">
                  <a:moveTo>
                    <a:pt x="0" y="0"/>
                  </a:moveTo>
                  <a:lnTo>
                    <a:pt x="2517" y="2536"/>
                  </a:lnTo>
                  <a:lnTo>
                    <a:pt x="2517" y="2536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1373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43" name="Freeform 23"/>
            <p:cNvSpPr>
              <a:spLocks/>
            </p:cNvSpPr>
            <p:nvPr/>
          </p:nvSpPr>
          <p:spPr bwMode="hidden">
            <a:xfrm>
              <a:off x="3488" y="0"/>
              <a:ext cx="2198" cy="24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88" y="2482"/>
                </a:cxn>
                <a:cxn ang="0">
                  <a:pos x="2200" y="2476"/>
                </a:cxn>
                <a:cxn ang="0">
                  <a:pos x="317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200" h="2482">
                  <a:moveTo>
                    <a:pt x="0" y="0"/>
                  </a:moveTo>
                  <a:lnTo>
                    <a:pt x="2188" y="2482"/>
                  </a:lnTo>
                  <a:lnTo>
                    <a:pt x="2200" y="2476"/>
                  </a:lnTo>
                  <a:lnTo>
                    <a:pt x="31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44" name="Freeform 24"/>
            <p:cNvSpPr>
              <a:spLocks/>
            </p:cNvSpPr>
            <p:nvPr/>
          </p:nvSpPr>
          <p:spPr bwMode="hidden">
            <a:xfrm>
              <a:off x="5674" y="2474"/>
              <a:ext cx="84" cy="96"/>
            </a:xfrm>
            <a:custGeom>
              <a:avLst/>
              <a:gdLst/>
              <a:ahLst/>
              <a:cxnLst>
                <a:cxn ang="0">
                  <a:pos x="84" y="96"/>
                </a:cxn>
                <a:cxn ang="0">
                  <a:pos x="84" y="90"/>
                </a:cxn>
                <a:cxn ang="0">
                  <a:pos x="12" y="0"/>
                </a:cxn>
                <a:cxn ang="0">
                  <a:pos x="0" y="6"/>
                </a:cxn>
                <a:cxn ang="0">
                  <a:pos x="84" y="96"/>
                </a:cxn>
                <a:cxn ang="0">
                  <a:pos x="84" y="96"/>
                </a:cxn>
              </a:cxnLst>
              <a:rect l="0" t="0" r="r" b="b"/>
              <a:pathLst>
                <a:path w="84" h="96">
                  <a:moveTo>
                    <a:pt x="84" y="96"/>
                  </a:moveTo>
                  <a:lnTo>
                    <a:pt x="84" y="9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84" y="96"/>
                  </a:lnTo>
                  <a:lnTo>
                    <a:pt x="84" y="9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0980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45" name="Freeform 25"/>
            <p:cNvSpPr>
              <a:spLocks/>
            </p:cNvSpPr>
            <p:nvPr/>
          </p:nvSpPr>
          <p:spPr bwMode="hidden">
            <a:xfrm>
              <a:off x="5603" y="850"/>
              <a:ext cx="155" cy="516"/>
            </a:xfrm>
            <a:custGeom>
              <a:avLst/>
              <a:gdLst/>
              <a:ahLst/>
              <a:cxnLst>
                <a:cxn ang="0">
                  <a:pos x="155" y="516"/>
                </a:cxn>
                <a:cxn ang="0">
                  <a:pos x="155" y="204"/>
                </a:cxn>
                <a:cxn ang="0">
                  <a:pos x="77" y="0"/>
                </a:cxn>
                <a:cxn ang="0">
                  <a:pos x="0" y="192"/>
                </a:cxn>
                <a:cxn ang="0">
                  <a:pos x="155" y="516"/>
                </a:cxn>
                <a:cxn ang="0">
                  <a:pos x="155" y="516"/>
                </a:cxn>
              </a:cxnLst>
              <a:rect l="0" t="0" r="r" b="b"/>
              <a:pathLst>
                <a:path w="155" h="516">
                  <a:moveTo>
                    <a:pt x="155" y="516"/>
                  </a:moveTo>
                  <a:lnTo>
                    <a:pt x="155" y="204"/>
                  </a:lnTo>
                  <a:lnTo>
                    <a:pt x="77" y="0"/>
                  </a:lnTo>
                  <a:lnTo>
                    <a:pt x="0" y="192"/>
                  </a:lnTo>
                  <a:lnTo>
                    <a:pt x="155" y="516"/>
                  </a:lnTo>
                  <a:lnTo>
                    <a:pt x="155" y="516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46" name="Freeform 26"/>
            <p:cNvSpPr>
              <a:spLocks/>
            </p:cNvSpPr>
            <p:nvPr/>
          </p:nvSpPr>
          <p:spPr bwMode="hidden">
            <a:xfrm>
              <a:off x="5107" y="0"/>
              <a:ext cx="573" cy="10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97" y="1043"/>
                </a:cxn>
                <a:cxn ang="0">
                  <a:pos x="574" y="851"/>
                </a:cxn>
                <a:cxn ang="0">
                  <a:pos x="25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74" h="1043">
                  <a:moveTo>
                    <a:pt x="0" y="0"/>
                  </a:moveTo>
                  <a:lnTo>
                    <a:pt x="497" y="1043"/>
                  </a:lnTo>
                  <a:lnTo>
                    <a:pt x="574" y="851"/>
                  </a:lnTo>
                  <a:lnTo>
                    <a:pt x="25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47" name="Freeform 27"/>
            <p:cNvSpPr>
              <a:spLocks/>
            </p:cNvSpPr>
            <p:nvPr/>
          </p:nvSpPr>
          <p:spPr bwMode="hidden">
            <a:xfrm>
              <a:off x="5411" y="0"/>
              <a:ext cx="341" cy="796"/>
            </a:xfrm>
            <a:custGeom>
              <a:avLst/>
              <a:gdLst/>
              <a:ahLst/>
              <a:cxnLst>
                <a:cxn ang="0">
                  <a:pos x="144" y="0"/>
                </a:cxn>
                <a:cxn ang="0">
                  <a:pos x="0" y="0"/>
                </a:cxn>
                <a:cxn ang="0">
                  <a:pos x="287" y="797"/>
                </a:cxn>
                <a:cxn ang="0">
                  <a:pos x="341" y="653"/>
                </a:cxn>
                <a:cxn ang="0">
                  <a:pos x="144" y="0"/>
                </a:cxn>
                <a:cxn ang="0">
                  <a:pos x="144" y="0"/>
                </a:cxn>
              </a:cxnLst>
              <a:rect l="0" t="0" r="r" b="b"/>
              <a:pathLst>
                <a:path w="341" h="797">
                  <a:moveTo>
                    <a:pt x="144" y="0"/>
                  </a:moveTo>
                  <a:lnTo>
                    <a:pt x="0" y="0"/>
                  </a:lnTo>
                  <a:lnTo>
                    <a:pt x="287" y="797"/>
                  </a:lnTo>
                  <a:lnTo>
                    <a:pt x="341" y="653"/>
                  </a:lnTo>
                  <a:lnTo>
                    <a:pt x="144" y="0"/>
                  </a:lnTo>
                  <a:lnTo>
                    <a:pt x="144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980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48" name="Freeform 28"/>
            <p:cNvSpPr>
              <a:spLocks/>
            </p:cNvSpPr>
            <p:nvPr/>
          </p:nvSpPr>
          <p:spPr bwMode="hidden">
            <a:xfrm>
              <a:off x="5698" y="653"/>
              <a:ext cx="60" cy="311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60" y="312"/>
                </a:cxn>
                <a:cxn ang="0">
                  <a:pos x="60" y="6"/>
                </a:cxn>
                <a:cxn ang="0">
                  <a:pos x="54" y="0"/>
                </a:cxn>
                <a:cxn ang="0">
                  <a:pos x="0" y="144"/>
                </a:cxn>
                <a:cxn ang="0">
                  <a:pos x="0" y="144"/>
                </a:cxn>
              </a:cxnLst>
              <a:rect l="0" t="0" r="r" b="b"/>
              <a:pathLst>
                <a:path w="60" h="312">
                  <a:moveTo>
                    <a:pt x="0" y="144"/>
                  </a:moveTo>
                  <a:lnTo>
                    <a:pt x="60" y="312"/>
                  </a:lnTo>
                  <a:lnTo>
                    <a:pt x="60" y="6"/>
                  </a:lnTo>
                  <a:lnTo>
                    <a:pt x="54" y="0"/>
                  </a:lnTo>
                  <a:lnTo>
                    <a:pt x="0" y="14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49" name="Freeform 29"/>
            <p:cNvSpPr>
              <a:spLocks/>
            </p:cNvSpPr>
            <p:nvPr/>
          </p:nvSpPr>
          <p:spPr bwMode="hidden">
            <a:xfrm>
              <a:off x="2" y="1601"/>
              <a:ext cx="5752" cy="1864"/>
            </a:xfrm>
            <a:custGeom>
              <a:avLst/>
              <a:gdLst/>
              <a:ahLst/>
              <a:cxnLst>
                <a:cxn ang="0">
                  <a:pos x="0" y="371"/>
                </a:cxn>
                <a:cxn ang="0">
                  <a:pos x="5740" y="1864"/>
                </a:cxn>
                <a:cxn ang="0">
                  <a:pos x="5740" y="1834"/>
                </a:cxn>
                <a:cxn ang="0">
                  <a:pos x="0" y="0"/>
                </a:cxn>
                <a:cxn ang="0">
                  <a:pos x="0" y="371"/>
                </a:cxn>
                <a:cxn ang="0">
                  <a:pos x="0" y="371"/>
                </a:cxn>
              </a:cxnLst>
              <a:rect l="0" t="0" r="r" b="b"/>
              <a:pathLst>
                <a:path w="5740" h="1864">
                  <a:moveTo>
                    <a:pt x="0" y="371"/>
                  </a:moveTo>
                  <a:lnTo>
                    <a:pt x="5740" y="1864"/>
                  </a:lnTo>
                  <a:lnTo>
                    <a:pt x="5740" y="1834"/>
                  </a:lnTo>
                  <a:lnTo>
                    <a:pt x="0" y="0"/>
                  </a:lnTo>
                  <a:lnTo>
                    <a:pt x="0" y="371"/>
                  </a:lnTo>
                  <a:lnTo>
                    <a:pt x="0" y="371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352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50" name="Freeform 30"/>
            <p:cNvSpPr>
              <a:spLocks/>
            </p:cNvSpPr>
            <p:nvPr/>
          </p:nvSpPr>
          <p:spPr bwMode="hidden">
            <a:xfrm>
              <a:off x="5754" y="3483"/>
              <a:ext cx="6" cy="6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18F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51" name="Freeform 31"/>
            <p:cNvSpPr>
              <a:spLocks/>
            </p:cNvSpPr>
            <p:nvPr/>
          </p:nvSpPr>
          <p:spPr bwMode="hidden">
            <a:xfrm>
              <a:off x="2" y="2152"/>
              <a:ext cx="5752" cy="1337"/>
            </a:xfrm>
            <a:custGeom>
              <a:avLst/>
              <a:gdLst/>
              <a:ahLst/>
              <a:cxnLst>
                <a:cxn ang="0">
                  <a:pos x="0" y="366"/>
                </a:cxn>
                <a:cxn ang="0">
                  <a:pos x="5740" y="1337"/>
                </a:cxn>
                <a:cxn ang="0">
                  <a:pos x="5740" y="1331"/>
                </a:cxn>
                <a:cxn ang="0">
                  <a:pos x="0" y="0"/>
                </a:cxn>
                <a:cxn ang="0">
                  <a:pos x="0" y="366"/>
                </a:cxn>
                <a:cxn ang="0">
                  <a:pos x="0" y="366"/>
                </a:cxn>
              </a:cxnLst>
              <a:rect l="0" t="0" r="r" b="b"/>
              <a:pathLst>
                <a:path w="5740" h="1337">
                  <a:moveTo>
                    <a:pt x="0" y="366"/>
                  </a:moveTo>
                  <a:lnTo>
                    <a:pt x="5740" y="1337"/>
                  </a:lnTo>
                  <a:lnTo>
                    <a:pt x="5740" y="1331"/>
                  </a:lnTo>
                  <a:lnTo>
                    <a:pt x="0" y="0"/>
                  </a:lnTo>
                  <a:lnTo>
                    <a:pt x="0" y="366"/>
                  </a:lnTo>
                  <a:lnTo>
                    <a:pt x="0" y="366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52" name="Freeform 32"/>
            <p:cNvSpPr>
              <a:spLocks/>
            </p:cNvSpPr>
            <p:nvPr/>
          </p:nvSpPr>
          <p:spPr bwMode="hidden">
            <a:xfrm>
              <a:off x="2" y="3177"/>
              <a:ext cx="5752" cy="414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5740" y="414"/>
                </a:cxn>
                <a:cxn ang="0">
                  <a:pos x="5740" y="402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0" y="48"/>
                </a:cxn>
              </a:cxnLst>
              <a:rect l="0" t="0" r="r" b="b"/>
              <a:pathLst>
                <a:path w="5740" h="414">
                  <a:moveTo>
                    <a:pt x="0" y="48"/>
                  </a:moveTo>
                  <a:lnTo>
                    <a:pt x="5740" y="414"/>
                  </a:lnTo>
                  <a:lnTo>
                    <a:pt x="5740" y="402"/>
                  </a:lnTo>
                  <a:lnTo>
                    <a:pt x="0" y="0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53" name="Freeform 33"/>
            <p:cNvSpPr>
              <a:spLocks/>
            </p:cNvSpPr>
            <p:nvPr/>
          </p:nvSpPr>
          <p:spPr bwMode="hidden">
            <a:xfrm>
              <a:off x="1297" y="0"/>
              <a:ext cx="4457" cy="31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448" y="3177"/>
                </a:cxn>
                <a:cxn ang="0">
                  <a:pos x="4448" y="3153"/>
                </a:cxn>
                <a:cxn ang="0">
                  <a:pos x="125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448" h="3177">
                  <a:moveTo>
                    <a:pt x="0" y="0"/>
                  </a:moveTo>
                  <a:lnTo>
                    <a:pt x="4448" y="3177"/>
                  </a:lnTo>
                  <a:lnTo>
                    <a:pt x="4448" y="3153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862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54" name="Freeform 34"/>
            <p:cNvSpPr>
              <a:spLocks/>
            </p:cNvSpPr>
            <p:nvPr/>
          </p:nvSpPr>
          <p:spPr bwMode="hidden">
            <a:xfrm>
              <a:off x="3321" y="0"/>
              <a:ext cx="2433" cy="26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28" y="2614"/>
                </a:cxn>
                <a:cxn ang="0">
                  <a:pos x="2428" y="2608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428" h="2614">
                  <a:moveTo>
                    <a:pt x="0" y="0"/>
                  </a:moveTo>
                  <a:lnTo>
                    <a:pt x="2428" y="2614"/>
                  </a:lnTo>
                  <a:lnTo>
                    <a:pt x="2428" y="2608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55" name="Freeform 35"/>
            <p:cNvSpPr>
              <a:spLocks/>
            </p:cNvSpPr>
            <p:nvPr/>
          </p:nvSpPr>
          <p:spPr bwMode="hidden">
            <a:xfrm>
              <a:off x="3950" y="0"/>
              <a:ext cx="1804" cy="2464"/>
            </a:xfrm>
            <a:custGeom>
              <a:avLst/>
              <a:gdLst/>
              <a:ahLst/>
              <a:cxnLst>
                <a:cxn ang="0">
                  <a:pos x="485" y="0"/>
                </a:cxn>
                <a:cxn ang="0">
                  <a:pos x="0" y="0"/>
                </a:cxn>
                <a:cxn ang="0">
                  <a:pos x="1800" y="2464"/>
                </a:cxn>
                <a:cxn ang="0">
                  <a:pos x="1800" y="2248"/>
                </a:cxn>
                <a:cxn ang="0">
                  <a:pos x="1794" y="2248"/>
                </a:cxn>
                <a:cxn ang="0">
                  <a:pos x="485" y="0"/>
                </a:cxn>
                <a:cxn ang="0">
                  <a:pos x="485" y="0"/>
                </a:cxn>
              </a:cxnLst>
              <a:rect l="0" t="0" r="r" b="b"/>
              <a:pathLst>
                <a:path w="1800" h="2464">
                  <a:moveTo>
                    <a:pt x="485" y="0"/>
                  </a:moveTo>
                  <a:lnTo>
                    <a:pt x="0" y="0"/>
                  </a:lnTo>
                  <a:lnTo>
                    <a:pt x="1800" y="2464"/>
                  </a:lnTo>
                  <a:lnTo>
                    <a:pt x="1800" y="2248"/>
                  </a:lnTo>
                  <a:lnTo>
                    <a:pt x="1794" y="2248"/>
                  </a:lnTo>
                  <a:lnTo>
                    <a:pt x="485" y="0"/>
                  </a:lnTo>
                  <a:lnTo>
                    <a:pt x="485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56" name="Freeform 36"/>
            <p:cNvSpPr>
              <a:spLocks/>
            </p:cNvSpPr>
            <p:nvPr/>
          </p:nvSpPr>
          <p:spPr bwMode="hidden">
            <a:xfrm>
              <a:off x="4519" y="0"/>
              <a:ext cx="1235" cy="207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2" y="2074"/>
                </a:cxn>
                <a:cxn ang="0">
                  <a:pos x="1232" y="2038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232" h="2074">
                  <a:moveTo>
                    <a:pt x="0" y="0"/>
                  </a:moveTo>
                  <a:lnTo>
                    <a:pt x="1232" y="2074"/>
                  </a:lnTo>
                  <a:lnTo>
                    <a:pt x="1232" y="2038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764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57" name="Freeform 37"/>
            <p:cNvSpPr>
              <a:spLocks/>
            </p:cNvSpPr>
            <p:nvPr/>
          </p:nvSpPr>
          <p:spPr bwMode="hidden">
            <a:xfrm>
              <a:off x="4694" y="0"/>
              <a:ext cx="1060" cy="19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58" y="1936"/>
                </a:cxn>
                <a:cxn ang="0">
                  <a:pos x="1058" y="1930"/>
                </a:cxn>
                <a:cxn ang="0">
                  <a:pos x="54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058" h="1936">
                  <a:moveTo>
                    <a:pt x="0" y="0"/>
                  </a:moveTo>
                  <a:lnTo>
                    <a:pt x="1058" y="1936"/>
                  </a:lnTo>
                  <a:lnTo>
                    <a:pt x="1058" y="1930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sp>
          <p:nvSpPr>
            <p:cNvPr id="5158" name="Freeform 38"/>
            <p:cNvSpPr>
              <a:spLocks/>
            </p:cNvSpPr>
            <p:nvPr/>
          </p:nvSpPr>
          <p:spPr bwMode="hidden">
            <a:xfrm>
              <a:off x="4981" y="0"/>
              <a:ext cx="773" cy="1487"/>
            </a:xfrm>
            <a:custGeom>
              <a:avLst/>
              <a:gdLst/>
              <a:ahLst/>
              <a:cxnLst>
                <a:cxn ang="0">
                  <a:pos x="771" y="1433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771" y="1487"/>
                </a:cxn>
                <a:cxn ang="0">
                  <a:pos x="771" y="1433"/>
                </a:cxn>
                <a:cxn ang="0">
                  <a:pos x="771" y="1433"/>
                </a:cxn>
              </a:cxnLst>
              <a:rect l="0" t="0" r="r" b="b"/>
              <a:pathLst>
                <a:path w="771" h="1487">
                  <a:moveTo>
                    <a:pt x="771" y="1433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771" y="1487"/>
                  </a:lnTo>
                  <a:lnTo>
                    <a:pt x="771" y="1433"/>
                  </a:lnTo>
                  <a:lnTo>
                    <a:pt x="771" y="1433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882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BE">
                <a:solidFill>
                  <a:srgbClr val="FFFFFF"/>
                </a:solidFill>
              </a:endParaRPr>
            </a:p>
          </p:txBody>
        </p:sp>
        <p:grpSp>
          <p:nvGrpSpPr>
            <p:cNvPr id="3" name="Group 39"/>
            <p:cNvGrpSpPr>
              <a:grpSpLocks/>
            </p:cNvGrpSpPr>
            <p:nvPr userDrawn="1"/>
          </p:nvGrpSpPr>
          <p:grpSpPr bwMode="auto">
            <a:xfrm>
              <a:off x="0" y="1632"/>
              <a:ext cx="5758" cy="1858"/>
              <a:chOff x="0" y="1632"/>
              <a:chExt cx="5758" cy="1858"/>
            </a:xfrm>
          </p:grpSpPr>
          <p:sp>
            <p:nvSpPr>
              <p:cNvPr id="5160" name="Freeform 40"/>
              <p:cNvSpPr>
                <a:spLocks/>
              </p:cNvSpPr>
              <p:nvPr/>
            </p:nvSpPr>
            <p:spPr bwMode="hidden">
              <a:xfrm>
                <a:off x="0" y="1632"/>
                <a:ext cx="3670" cy="13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66"/>
                  </a:cxn>
                  <a:cxn ang="0">
                    <a:pos x="3635" y="1313"/>
                  </a:cxn>
                  <a:cxn ang="0">
                    <a:pos x="3647" y="1235"/>
                  </a:cxn>
                  <a:cxn ang="0">
                    <a:pos x="3659" y="1163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659" h="1313">
                    <a:moveTo>
                      <a:pt x="0" y="0"/>
                    </a:moveTo>
                    <a:lnTo>
                      <a:pt x="0" y="366"/>
                    </a:lnTo>
                    <a:lnTo>
                      <a:pt x="3635" y="1313"/>
                    </a:lnTo>
                    <a:lnTo>
                      <a:pt x="3647" y="1235"/>
                    </a:lnTo>
                    <a:lnTo>
                      <a:pt x="3659" y="116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72549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BE">
                  <a:solidFill>
                    <a:srgbClr val="FFFFFF"/>
                  </a:solidFill>
                </a:endParaRPr>
              </a:p>
            </p:txBody>
          </p:sp>
          <p:sp>
            <p:nvSpPr>
              <p:cNvPr id="5161" name="Freeform 41"/>
              <p:cNvSpPr>
                <a:spLocks/>
              </p:cNvSpPr>
              <p:nvPr/>
            </p:nvSpPr>
            <p:spPr bwMode="hidden">
              <a:xfrm>
                <a:off x="3646" y="2795"/>
                <a:ext cx="2112" cy="695"/>
              </a:xfrm>
              <a:custGeom>
                <a:avLst/>
                <a:gdLst/>
                <a:ahLst/>
                <a:cxnLst>
                  <a:cxn ang="0">
                    <a:pos x="2105" y="665"/>
                  </a:cxn>
                  <a:cxn ang="0">
                    <a:pos x="24" y="0"/>
                  </a:cxn>
                  <a:cxn ang="0">
                    <a:pos x="12" y="72"/>
                  </a:cxn>
                  <a:cxn ang="0">
                    <a:pos x="0" y="150"/>
                  </a:cxn>
                  <a:cxn ang="0">
                    <a:pos x="2105" y="695"/>
                  </a:cxn>
                  <a:cxn ang="0">
                    <a:pos x="2105" y="665"/>
                  </a:cxn>
                  <a:cxn ang="0">
                    <a:pos x="2105" y="665"/>
                  </a:cxn>
                </a:cxnLst>
                <a:rect l="0" t="0" r="r" b="b"/>
                <a:pathLst>
                  <a:path w="2105" h="695">
                    <a:moveTo>
                      <a:pt x="2105" y="665"/>
                    </a:moveTo>
                    <a:lnTo>
                      <a:pt x="24" y="0"/>
                    </a:lnTo>
                    <a:lnTo>
                      <a:pt x="12" y="72"/>
                    </a:lnTo>
                    <a:lnTo>
                      <a:pt x="0" y="150"/>
                    </a:lnTo>
                    <a:lnTo>
                      <a:pt x="2105" y="695"/>
                    </a:lnTo>
                    <a:lnTo>
                      <a:pt x="2105" y="665"/>
                    </a:lnTo>
                    <a:lnTo>
                      <a:pt x="2105" y="66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90980"/>
                      <a:invGamma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BE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5162" name="Rectangle 4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4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5163" name="Rectangle 4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3"/>
            <a:ext cx="8229600" cy="453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5164" name="Rectangle 4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3639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5165" name="Rectangle 4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200"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5166" name="Rectangle 4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3639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ABDC7F-2059-4AE8-A126-80A5B1949B45}" type="slidenum">
              <a:rPr lang="fr-FR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90000"/>
        <a:buFont typeface="Wingdings" pitchFamily="2" charset="2"/>
        <a:buBlip>
          <a:blip r:embed="rId14"/>
        </a:buBlip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Wingdings" pitchFamily="2" charset="2"/>
        <a:buBlip>
          <a:blip r:embed="rId15"/>
        </a:buBlip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6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6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6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6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6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Cliquez pour modifier le style du titre</a:t>
            </a:r>
            <a:endParaRPr lang="fr-BE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BE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D5717F-8899-46C0-8C95-90297FD3A333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C65EA2-CD35-4122-9DAB-08B2398BD6C1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7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rme libre 6"/>
          <p:cNvSpPr>
            <a:spLocks/>
          </p:cNvSpPr>
          <p:nvPr/>
        </p:nvSpPr>
        <p:spPr bwMode="auto">
          <a:xfrm>
            <a:off x="-9525" y="-7144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rme libre 7"/>
          <p:cNvSpPr>
            <a:spLocks/>
          </p:cNvSpPr>
          <p:nvPr/>
        </p:nvSpPr>
        <p:spPr bwMode="auto">
          <a:xfrm>
            <a:off x="4381500" y="-7144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Espace réservé du titre 8"/>
          <p:cNvSpPr>
            <a:spLocks noGrp="1"/>
          </p:cNvSpPr>
          <p:nvPr>
            <p:ph type="title"/>
          </p:nvPr>
        </p:nvSpPr>
        <p:spPr>
          <a:xfrm>
            <a:off x="457200" y="704089"/>
            <a:ext cx="82296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fr-FR" smtClean="0"/>
              <a:t>Cliquez pour modifier le style du titre</a:t>
            </a:r>
            <a:endParaRPr kumimoji="0" lang="en-US"/>
          </a:p>
        </p:txBody>
      </p:sp>
      <p:sp>
        <p:nvSpPr>
          <p:cNvPr id="30" name="Espace réservé du texte 29"/>
          <p:cNvSpPr>
            <a:spLocks noGrp="1"/>
          </p:cNvSpPr>
          <p:nvPr>
            <p:ph type="body"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fr-FR" smtClean="0"/>
              <a:t>Cliquez pour modifier les styles du texte du masque</a:t>
            </a:r>
          </a:p>
          <a:p>
            <a:pPr lvl="1" eaLnBrk="1" latinLnBrk="0" hangingPunct="1"/>
            <a:r>
              <a:rPr kumimoji="0" lang="fr-FR" smtClean="0"/>
              <a:t>Deuxième niveau</a:t>
            </a:r>
          </a:p>
          <a:p>
            <a:pPr lvl="2" eaLnBrk="1" latinLnBrk="0" hangingPunct="1"/>
            <a:r>
              <a:rPr kumimoji="0" lang="fr-FR" smtClean="0"/>
              <a:t>Troisième niveau</a:t>
            </a:r>
          </a:p>
          <a:p>
            <a:pPr lvl="3" eaLnBrk="1" latinLnBrk="0" hangingPunct="1"/>
            <a:r>
              <a:rPr kumimoji="0" lang="fr-FR" smtClean="0"/>
              <a:t>Quatrième niveau</a:t>
            </a:r>
          </a:p>
          <a:p>
            <a:pPr lvl="4" eaLnBrk="1" latinLnBrk="0" hangingPunct="1"/>
            <a:r>
              <a:rPr kumimoji="0" lang="fr-FR" smtClean="0"/>
              <a:t>Cinquième niveau</a:t>
            </a:r>
            <a:endParaRPr kumimoji="0" lang="en-US"/>
          </a:p>
        </p:txBody>
      </p:sp>
      <p:sp>
        <p:nvSpPr>
          <p:cNvPr id="10" name="Espace réservé de la date 9"/>
          <p:cNvSpPr>
            <a:spLocks noGrp="1"/>
          </p:cNvSpPr>
          <p:nvPr>
            <p:ph type="dt" sz="half" idx="2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D5E2A30D-FA5D-48AB-A39A-6F543B9103FA}" type="datetimeFigureOut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7/11/2016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22" name="Espace réservé du pied de page 21"/>
          <p:cNvSpPr>
            <a:spLocks noGrp="1"/>
          </p:cNvSpPr>
          <p:nvPr>
            <p:ph type="ftr" sz="quarter" idx="3"/>
          </p:nvPr>
        </p:nvSpPr>
        <p:spPr>
          <a:xfrm>
            <a:off x="2667000" y="6356353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4"/>
          </p:nvPr>
        </p:nvSpPr>
        <p:spPr>
          <a:xfrm>
            <a:off x="7924800" y="6356353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B90ADDF1-80E3-4177-A484-A83E420C2422}" type="slidenum">
              <a:rPr lang="fr-BE" smtClean="0">
                <a:solidFill>
                  <a:srgbClr val="04617B">
                    <a:shade val="90000"/>
                  </a:srgbClr>
                </a:solidFill>
              </a:rPr>
              <a:pPr/>
              <a:t>‹N°›</a:t>
            </a:fld>
            <a:endParaRPr lang="fr-BE">
              <a:solidFill>
                <a:srgbClr val="04617B">
                  <a:shade val="90000"/>
                </a:srgbClr>
              </a:solidFill>
            </a:endParaRPr>
          </a:p>
        </p:txBody>
      </p:sp>
      <p:grpSp>
        <p:nvGrpSpPr>
          <p:cNvPr id="2" name="Groupe 1"/>
          <p:cNvGrpSpPr/>
          <p:nvPr/>
        </p:nvGrpSpPr>
        <p:grpSpPr>
          <a:xfrm>
            <a:off x="-19017" y="202408"/>
            <a:ext cx="9180548" cy="649224"/>
            <a:chOff x="-19045" y="216550"/>
            <a:chExt cx="9180548" cy="649224"/>
          </a:xfrm>
        </p:grpSpPr>
        <p:sp>
          <p:nvSpPr>
            <p:cNvPr id="12" name="Forme libre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orme libre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89" r:id="rId1"/>
    <p:sldLayoutId id="2147484090" r:id="rId2"/>
    <p:sldLayoutId id="2147484091" r:id="rId3"/>
    <p:sldLayoutId id="2147484092" r:id="rId4"/>
    <p:sldLayoutId id="2147484093" r:id="rId5"/>
    <p:sldLayoutId id="2147484094" r:id="rId6"/>
    <p:sldLayoutId id="2147484095" r:id="rId7"/>
    <p:sldLayoutId id="2147484096" r:id="rId8"/>
    <p:sldLayoutId id="2147484097" r:id="rId9"/>
    <p:sldLayoutId id="2147484098" r:id="rId10"/>
    <p:sldLayoutId id="2147484099" r:id="rId11"/>
    <p:sldLayoutId id="2147484100" r:id="rId12"/>
    <p:sldLayoutId id="2147484101" r:id="rId13"/>
    <p:sldLayoutId id="2147484102" r:id="rId14"/>
    <p:sldLayoutId id="2147484103" r:id="rId15"/>
    <p:sldLayoutId id="2147484104" r:id="rId16"/>
  </p:sldLayoutIdLst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08E368-1A87-4E7A-9D05-9B52677F7099}" type="datetimeFigureOut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CC9A53-23A4-4145-AADB-C9B739ACC9EF}" type="slidenum">
              <a:rPr lang="fr-BE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B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178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nl-NL" smtClean="0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5734"/>
            <a:ext cx="75438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0DC9075B-472C-4C78-9368-E8A5384A7922}" type="datetime1">
              <a:rPr lang="nl-BE" smtClean="0"/>
              <a:pPr/>
              <a:t>7/11/2016</a:t>
            </a:fld>
            <a:endParaRPr lang="nl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5365E5BD-2EA5-4B9E-9D8C-B5B83A1B0375}" type="slidenum">
              <a:rPr lang="nl-BE" smtClean="0"/>
              <a:pPr/>
              <a:t>‹N°›</a:t>
            </a:fld>
            <a:endParaRPr lang="nl-BE"/>
          </a:p>
        </p:txBody>
      </p:sp>
      <p:cxnSp>
        <p:nvCxnSpPr>
          <p:cNvPr id="10" name="Straight Connector 9"/>
          <p:cNvCxnSpPr/>
          <p:nvPr/>
        </p:nvCxnSpPr>
        <p:spPr>
          <a:xfrm>
            <a:off x="895149" y="1737845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318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3" r:id="rId1"/>
    <p:sldLayoutId id="2147484294" r:id="rId2"/>
    <p:sldLayoutId id="2147484295" r:id="rId3"/>
    <p:sldLayoutId id="2147484296" r:id="rId4"/>
    <p:sldLayoutId id="2147484297" r:id="rId5"/>
    <p:sldLayoutId id="2147484298" r:id="rId6"/>
    <p:sldLayoutId id="2147484299" r:id="rId7"/>
    <p:sldLayoutId id="2147484300" r:id="rId8"/>
    <p:sldLayoutId id="2147484301" r:id="rId9"/>
    <p:sldLayoutId id="2147484302" r:id="rId10"/>
    <p:sldLayoutId id="2147484303" r:id="rId1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69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://ecdc.europa.eu/" TargetMode="External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9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9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uromomo.eu/index.html" TargetMode="External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hyperlink" Target="http://www.euromomo.eu/index.html" TargetMode="External"/><Relationship Id="rId1" Type="http://schemas.openxmlformats.org/officeDocument/2006/relationships/slideLayout" Target="../slideLayouts/slideLayout69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9.w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fr-BE" sz="4400" dirty="0" smtClean="0"/>
              <a:t>    </a:t>
            </a:r>
            <a:r>
              <a:rPr lang="fr-BE" sz="4400" dirty="0" err="1" smtClean="0"/>
              <a:t>Flu</a:t>
            </a:r>
            <a:r>
              <a:rPr lang="fr-BE" sz="4400" dirty="0" smtClean="0"/>
              <a:t> vaccines: </a:t>
            </a:r>
            <a:r>
              <a:rPr lang="fr-BE" sz="4400" dirty="0" err="1" smtClean="0"/>
              <a:t>immunological</a:t>
            </a:r>
            <a:r>
              <a:rPr lang="fr-BE" sz="4400" dirty="0" smtClean="0"/>
              <a:t>   </a:t>
            </a:r>
            <a:r>
              <a:rPr lang="fr-BE" sz="4400" dirty="0" smtClean="0"/>
              <a:t>	and </a:t>
            </a:r>
            <a:r>
              <a:rPr lang="fr-BE" sz="4400" dirty="0" err="1" smtClean="0"/>
              <a:t>clinical</a:t>
            </a:r>
            <a:r>
              <a:rPr lang="fr-BE" sz="4400" dirty="0" smtClean="0"/>
              <a:t> data </a:t>
            </a:r>
            <a:r>
              <a:rPr lang="fr-BE" sz="4400" dirty="0" err="1" smtClean="0"/>
              <a:t>that</a:t>
            </a:r>
            <a:r>
              <a:rPr lang="fr-BE" sz="4400" dirty="0" smtClean="0"/>
              <a:t> </a:t>
            </a:r>
            <a:r>
              <a:rPr lang="fr-BE" sz="4400" dirty="0" err="1" smtClean="0"/>
              <a:t>could</a:t>
            </a:r>
            <a:r>
              <a:rPr lang="fr-BE" sz="4400" dirty="0" smtClean="0"/>
              <a:t> 	help to </a:t>
            </a:r>
            <a:r>
              <a:rPr lang="fr-BE" sz="4400" dirty="0" err="1" smtClean="0"/>
              <a:t>choose</a:t>
            </a:r>
            <a:r>
              <a:rPr lang="fr-BE" sz="4400" dirty="0" smtClean="0"/>
              <a:t>…</a:t>
            </a:r>
            <a:endParaRPr lang="fr-BE" sz="440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35111" y="3507060"/>
            <a:ext cx="7854696" cy="1752600"/>
          </a:xfrm>
        </p:spPr>
        <p:txBody>
          <a:bodyPr>
            <a:normAutofit fontScale="92500" lnSpcReduction="10000"/>
          </a:bodyPr>
          <a:lstStyle/>
          <a:p>
            <a:r>
              <a:rPr lang="fr-BE" sz="3600" dirty="0" smtClean="0"/>
              <a:t>Y</a:t>
            </a:r>
            <a:r>
              <a:rPr lang="fr-BE" sz="3600" dirty="0" smtClean="0"/>
              <a:t>. Van </a:t>
            </a:r>
            <a:r>
              <a:rPr lang="fr-BE" sz="3600" dirty="0" err="1" smtClean="0"/>
              <a:t>Laethem</a:t>
            </a:r>
            <a:r>
              <a:rPr lang="fr-BE" sz="3600" dirty="0" smtClean="0"/>
              <a:t> MD</a:t>
            </a:r>
          </a:p>
          <a:p>
            <a:r>
              <a:rPr lang="fr-BE" sz="3600" dirty="0" smtClean="0"/>
              <a:t>Chair, Vaccination section</a:t>
            </a:r>
          </a:p>
          <a:p>
            <a:r>
              <a:rPr lang="fr-BE" sz="3600" dirty="0" smtClean="0"/>
              <a:t>High Council of </a:t>
            </a:r>
            <a:r>
              <a:rPr lang="fr-BE" sz="3600" dirty="0" err="1" smtClean="0"/>
              <a:t>Health</a:t>
            </a:r>
            <a:endParaRPr lang="fr-BE" sz="3600" dirty="0"/>
          </a:p>
        </p:txBody>
      </p:sp>
      <p:pic>
        <p:nvPicPr>
          <p:cNvPr id="4" name="Picture 8" descr="photogri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88640"/>
            <a:ext cx="1331640" cy="151216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BE" dirty="0" smtClean="0"/>
              <a:t>And in  2014-15 in  Europe….</a:t>
            </a:r>
            <a:endParaRPr lang="fr-BE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5" name="Picture 8" descr="photogri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548680"/>
            <a:ext cx="1447800" cy="158417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0853" y="1268761"/>
            <a:ext cx="8713147" cy="5309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251520" y="188642"/>
            <a:ext cx="87129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prstClr val="black"/>
                </a:solidFill>
              </a:rPr>
              <a:t>Fig. 1. Number of sentinel specimens positive for influenza virus, by (sub)type and week of specimen collection, </a:t>
            </a:r>
            <a:r>
              <a:rPr lang="en-US" b="1" dirty="0">
                <a:solidFill>
                  <a:srgbClr val="FF0000"/>
                </a:solidFill>
              </a:rPr>
              <a:t>weeks 40/2014–20/2015 </a:t>
            </a:r>
            <a:endParaRPr lang="fr-BE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4" name="Espace réservé du contenu 3" descr="Pooled-number.pn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979712" y="1"/>
            <a:ext cx="5811606" cy="6973927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AutoShape 2" descr="http://www.eurosurveillance.org/images/dynamic/EE/V20N11/ESPENHAIN_fig2.png"/>
          <p:cNvSpPr>
            <a:spLocks noChangeAspect="1" noChangeArrowheads="1"/>
          </p:cNvSpPr>
          <p:nvPr/>
        </p:nvSpPr>
        <p:spPr bwMode="auto">
          <a:xfrm>
            <a:off x="155576" y="-3001963"/>
            <a:ext cx="7667625" cy="625792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>
              <a:solidFill>
                <a:prstClr val="black"/>
              </a:solidFill>
            </a:endParaRPr>
          </a:p>
        </p:txBody>
      </p:sp>
      <p:pic>
        <p:nvPicPr>
          <p:cNvPr id="2052" name="Picture 4" descr="http://www.eurosurveillance.org/images/dynamic/EE/V20N11/ESPENHAIN_fig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188641"/>
            <a:ext cx="8075218" cy="659058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	  </a:t>
            </a:r>
            <a:r>
              <a:rPr lang="fr-BE" dirty="0" err="1" smtClean="0"/>
              <a:t>Effectiveness</a:t>
            </a:r>
            <a:r>
              <a:rPr lang="fr-BE" dirty="0" smtClean="0"/>
              <a:t> (« real life »)	of </a:t>
            </a:r>
            <a:r>
              <a:rPr lang="fr-BE" dirty="0" err="1" smtClean="0"/>
              <a:t>seasonal</a:t>
            </a:r>
            <a:r>
              <a:rPr lang="fr-BE" dirty="0" smtClean="0"/>
              <a:t> </a:t>
            </a:r>
            <a:r>
              <a:rPr lang="fr-BE" dirty="0" err="1" smtClean="0"/>
              <a:t>flu</a:t>
            </a:r>
            <a:r>
              <a:rPr lang="fr-BE" dirty="0" smtClean="0"/>
              <a:t> vaccine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1520" y="1600200"/>
            <a:ext cx="8640960" cy="4997152"/>
          </a:xfrm>
        </p:spPr>
        <p:txBody>
          <a:bodyPr/>
          <a:lstStyle/>
          <a:p>
            <a:r>
              <a:rPr lang="fr-BE" b="1" dirty="0" smtClean="0">
                <a:solidFill>
                  <a:schemeClr val="accent1"/>
                </a:solidFill>
              </a:rPr>
              <a:t>Canada</a:t>
            </a:r>
            <a:r>
              <a:rPr lang="fr-BE" dirty="0" smtClean="0"/>
              <a:t> (2013-2014): </a:t>
            </a:r>
            <a:r>
              <a:rPr lang="fr-BE" b="1" dirty="0" smtClean="0">
                <a:solidFill>
                  <a:schemeClr val="accent1"/>
                </a:solidFill>
              </a:rPr>
              <a:t>58</a:t>
            </a:r>
            <a:r>
              <a:rPr lang="fr-BE" b="1" dirty="0" smtClean="0">
                <a:solidFill>
                  <a:schemeClr val="accent1"/>
                </a:solidFill>
              </a:rPr>
              <a:t>%</a:t>
            </a:r>
            <a:r>
              <a:rPr lang="fr-BE" dirty="0" smtClean="0"/>
              <a:t> </a:t>
            </a:r>
            <a:r>
              <a:rPr lang="fr-BE" dirty="0" smtClean="0"/>
              <a:t/>
            </a:r>
            <a:br>
              <a:rPr lang="fr-BE" dirty="0" smtClean="0"/>
            </a:br>
            <a:r>
              <a:rPr lang="fr-BE" dirty="0" smtClean="0"/>
              <a:t>on </a:t>
            </a:r>
            <a:r>
              <a:rPr lang="fr-BE" dirty="0" err="1" smtClean="0"/>
              <a:t>confirmed</a:t>
            </a:r>
            <a:r>
              <a:rPr lang="fr-BE" dirty="0" smtClean="0"/>
              <a:t> influenza </a:t>
            </a:r>
            <a:r>
              <a:rPr lang="fr-BE" dirty="0" err="1" smtClean="0"/>
              <a:t>hospitalizations</a:t>
            </a:r>
            <a:r>
              <a:rPr lang="fr-BE" i="1" dirty="0" smtClean="0"/>
              <a:t> </a:t>
            </a:r>
          </a:p>
          <a:p>
            <a:r>
              <a:rPr lang="fr-BE" b="1" dirty="0" smtClean="0">
                <a:solidFill>
                  <a:schemeClr val="accent1"/>
                </a:solidFill>
              </a:rPr>
              <a:t>Spain </a:t>
            </a:r>
            <a:r>
              <a:rPr lang="fr-BE" dirty="0" smtClean="0"/>
              <a:t>(</a:t>
            </a:r>
            <a:r>
              <a:rPr lang="fr-BE" dirty="0" smtClean="0">
                <a:sym typeface="Wingdings" pitchFamily="2" charset="2"/>
              </a:rPr>
              <a:t>2013-2014) </a:t>
            </a:r>
            <a:r>
              <a:rPr lang="fr-BE" dirty="0" smtClean="0">
                <a:sym typeface="Wingdings" pitchFamily="2" charset="2"/>
              </a:rPr>
              <a:t>  : </a:t>
            </a:r>
            <a:r>
              <a:rPr lang="fr-BE" b="1" dirty="0" smtClean="0">
                <a:solidFill>
                  <a:schemeClr val="tx2"/>
                </a:solidFill>
                <a:sym typeface="Wingdings" pitchFamily="2" charset="2"/>
              </a:rPr>
              <a:t>35 % à 44%</a:t>
            </a:r>
          </a:p>
          <a:p>
            <a:pPr>
              <a:buNone/>
            </a:pPr>
            <a:r>
              <a:rPr lang="fr-BE" b="1" dirty="0" smtClean="0">
                <a:solidFill>
                  <a:schemeClr val="tx2"/>
                </a:solidFill>
              </a:rPr>
              <a:t>   USA </a:t>
            </a:r>
            <a:r>
              <a:rPr lang="fr-BE" dirty="0" smtClean="0"/>
              <a:t>(2011-2012</a:t>
            </a:r>
            <a:r>
              <a:rPr lang="fr-BE" dirty="0" smtClean="0"/>
              <a:t>)     </a:t>
            </a:r>
            <a:r>
              <a:rPr lang="fr-BE" b="1" dirty="0" smtClean="0">
                <a:solidFill>
                  <a:schemeClr val="tx2"/>
                </a:solidFill>
              </a:rPr>
              <a:t>: 65%</a:t>
            </a:r>
            <a:r>
              <a:rPr lang="fr-BE" dirty="0" smtClean="0"/>
              <a:t> (H1N1)</a:t>
            </a:r>
          </a:p>
          <a:p>
            <a:pPr>
              <a:buNone/>
            </a:pPr>
            <a:r>
              <a:rPr lang="fr-BE" dirty="0" smtClean="0"/>
              <a:t>                                  </a:t>
            </a:r>
            <a:r>
              <a:rPr lang="fr-BE" dirty="0" smtClean="0"/>
              <a:t>    </a:t>
            </a:r>
            <a:r>
              <a:rPr lang="fr-BE" b="1" dirty="0" smtClean="0">
                <a:solidFill>
                  <a:schemeClr val="tx2"/>
                </a:solidFill>
              </a:rPr>
              <a:t>39</a:t>
            </a:r>
            <a:r>
              <a:rPr lang="fr-BE" b="1" dirty="0" smtClean="0">
                <a:solidFill>
                  <a:schemeClr val="tx2"/>
                </a:solidFill>
              </a:rPr>
              <a:t>%</a:t>
            </a:r>
            <a:r>
              <a:rPr lang="fr-BE" dirty="0" smtClean="0"/>
              <a:t> (H3N2)</a:t>
            </a:r>
          </a:p>
          <a:p>
            <a:pPr>
              <a:buNone/>
            </a:pPr>
            <a:r>
              <a:rPr lang="fr-BE" dirty="0" smtClean="0"/>
              <a:t>                                 </a:t>
            </a:r>
            <a:r>
              <a:rPr lang="fr-BE" dirty="0" smtClean="0"/>
              <a:t>     </a:t>
            </a:r>
            <a:r>
              <a:rPr lang="fr-BE" b="1" dirty="0" smtClean="0">
                <a:solidFill>
                  <a:schemeClr val="tx2"/>
                </a:solidFill>
              </a:rPr>
              <a:t>58%</a:t>
            </a:r>
            <a:r>
              <a:rPr lang="fr-BE" dirty="0" smtClean="0"/>
              <a:t> (B)</a:t>
            </a:r>
          </a:p>
          <a:p>
            <a:pPr>
              <a:buNone/>
            </a:pPr>
            <a:r>
              <a:rPr lang="fr-BE" b="1" dirty="0" smtClean="0"/>
              <a:t>    			in the </a:t>
            </a:r>
            <a:r>
              <a:rPr lang="fr-BE" b="1" dirty="0" err="1" smtClean="0"/>
              <a:t>two</a:t>
            </a:r>
            <a:r>
              <a:rPr lang="fr-BE" b="1" dirty="0" smtClean="0"/>
              <a:t> countries: 			   </a:t>
            </a:r>
            <a:r>
              <a:rPr lang="fr-BE" dirty="0" smtClean="0"/>
              <a:t>on </a:t>
            </a:r>
            <a:r>
              <a:rPr lang="fr-BE" dirty="0" err="1" smtClean="0"/>
              <a:t>medical</a:t>
            </a:r>
            <a:r>
              <a:rPr lang="fr-BE" dirty="0" smtClean="0"/>
              <a:t> care </a:t>
            </a:r>
            <a:r>
              <a:rPr lang="fr-BE" dirty="0" err="1" smtClean="0"/>
              <a:t>linked</a:t>
            </a:r>
            <a:r>
              <a:rPr lang="fr-BE" dirty="0" smtClean="0"/>
              <a:t> to </a:t>
            </a:r>
            <a:r>
              <a:rPr lang="fr-BE" dirty="0" err="1" smtClean="0"/>
              <a:t>confirmed</a:t>
            </a:r>
            <a:r>
              <a:rPr lang="fr-BE" dirty="0" smtClean="0"/>
              <a:t>  </a:t>
            </a:r>
            <a:r>
              <a:rPr lang="fr-BE" dirty="0" err="1" smtClean="0"/>
              <a:t>flu</a:t>
            </a:r>
            <a:r>
              <a:rPr lang="fr-BE" i="1" dirty="0" smtClean="0">
                <a:sym typeface="Wingdings" pitchFamily="2" charset="2"/>
              </a:rPr>
              <a:t>	</a:t>
            </a:r>
            <a:endParaRPr lang="fr-BE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BE" dirty="0" err="1" smtClean="0"/>
              <a:t>What</a:t>
            </a:r>
            <a:r>
              <a:rPr lang="fr-BE" dirty="0" smtClean="0"/>
              <a:t> about « </a:t>
            </a:r>
            <a:r>
              <a:rPr lang="fr-BE" dirty="0" err="1" smtClean="0"/>
              <a:t>classic</a:t>
            </a:r>
            <a:r>
              <a:rPr lang="fr-BE" dirty="0" smtClean="0"/>
              <a:t> «  </a:t>
            </a:r>
            <a:r>
              <a:rPr lang="fr-BE" dirty="0" err="1" smtClean="0"/>
              <a:t>risk</a:t>
            </a:r>
            <a:r>
              <a:rPr lang="fr-BE" dirty="0" smtClean="0"/>
              <a:t> groups?</a:t>
            </a:r>
            <a:endParaRPr lang="fr-BE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BE" dirty="0" smtClean="0">
                <a:latin typeface="Vrinda"/>
                <a:cs typeface="Vrinda"/>
              </a:rPr>
              <a:t>&gt;</a:t>
            </a:r>
            <a:r>
              <a:rPr lang="fr-BE" dirty="0" smtClean="0"/>
              <a:t> 65 y</a:t>
            </a:r>
          </a:p>
          <a:p>
            <a:r>
              <a:rPr lang="fr-BE" dirty="0" err="1" smtClean="0"/>
              <a:t>Chronic</a:t>
            </a:r>
            <a:r>
              <a:rPr lang="fr-BE" dirty="0" smtClean="0"/>
              <a:t> </a:t>
            </a:r>
            <a:r>
              <a:rPr lang="fr-BE" dirty="0" err="1" smtClean="0"/>
              <a:t>diseases</a:t>
            </a:r>
            <a:endParaRPr lang="fr-BE" dirty="0"/>
          </a:p>
        </p:txBody>
      </p:sp>
      <p:pic>
        <p:nvPicPr>
          <p:cNvPr id="4" name="Picture 8" descr="photogri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188640"/>
            <a:ext cx="1447800" cy="136815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556792"/>
          </a:xfrm>
        </p:spPr>
        <p:txBody>
          <a:bodyPr>
            <a:normAutofit/>
          </a:bodyPr>
          <a:lstStyle/>
          <a:p>
            <a:r>
              <a:rPr lang="en-US" sz="1800" b="1" dirty="0"/>
              <a:t>Figure 1. Reported seasonal influenza vaccination coverage rates in </a:t>
            </a:r>
            <a:r>
              <a:rPr lang="en-US" sz="1800" b="1" dirty="0" smtClean="0"/>
              <a:t>				</a:t>
            </a:r>
            <a:r>
              <a:rPr lang="en-US" sz="2400" b="1" dirty="0" smtClean="0"/>
              <a:t>‘</a:t>
            </a:r>
            <a:r>
              <a:rPr lang="en-US" sz="2400" b="1" i="1" dirty="0">
                <a:solidFill>
                  <a:srgbClr val="FF0000"/>
                </a:solidFill>
              </a:rPr>
              <a:t>older age groups’</a:t>
            </a:r>
            <a:r>
              <a:rPr lang="en-US" sz="1800" b="1" i="1" dirty="0">
                <a:solidFill>
                  <a:srgbClr val="FF0000"/>
                </a:solidFill>
              </a:rPr>
              <a:t> </a:t>
            </a:r>
            <a:r>
              <a:rPr lang="en-US" sz="1800" b="1" i="1" dirty="0" smtClean="0">
                <a:solidFill>
                  <a:srgbClr val="FF0000"/>
                </a:solidFill>
              </a:rPr>
              <a:t>	</a:t>
            </a:r>
            <a:r>
              <a:rPr lang="en-US" sz="1800" b="1" dirty="0" smtClean="0"/>
              <a:t>			  (</a:t>
            </a:r>
            <a:r>
              <a:rPr lang="en-US" sz="1800" b="1" dirty="0"/>
              <a:t>2008–09, 2009–10, 2010–11 and 2011–12 influenza seasons), by </a:t>
            </a:r>
            <a:r>
              <a:rPr lang="en-US" sz="1800" b="1" dirty="0" smtClean="0"/>
              <a:t>% </a:t>
            </a:r>
            <a:endParaRPr lang="fr-BE" sz="1800" b="1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6068" y="1600200"/>
            <a:ext cx="8131864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BE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6725" y="1323975"/>
            <a:ext cx="8210550" cy="421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0" y="0"/>
            <a:ext cx="9396536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FFFF00"/>
                </a:solidFill>
              </a:rPr>
              <a:t>Figure 2. Vaccination coverage rates among </a:t>
            </a:r>
            <a:r>
              <a:rPr lang="en-US" sz="2400" b="1" i="1" dirty="0">
                <a:solidFill>
                  <a:srgbClr val="FF0000"/>
                </a:solidFill>
              </a:rPr>
              <a:t>clinical risk groups </a:t>
            </a:r>
            <a:r>
              <a:rPr lang="en-US" sz="2400" b="1" dirty="0" smtClean="0">
                <a:solidFill>
                  <a:srgbClr val="FFFF00"/>
                </a:solidFill>
              </a:rPr>
              <a:t>		</a:t>
            </a:r>
            <a:r>
              <a:rPr lang="en-US" b="1" dirty="0" smtClean="0">
                <a:solidFill>
                  <a:srgbClr val="FFFF00"/>
                </a:solidFill>
              </a:rPr>
              <a:t>as </a:t>
            </a:r>
            <a:r>
              <a:rPr lang="en-US" b="1" dirty="0">
                <a:solidFill>
                  <a:srgbClr val="FFFF00"/>
                </a:solidFill>
              </a:rPr>
              <a:t>measured by administrative or survey </a:t>
            </a:r>
            <a:r>
              <a:rPr lang="en-US" b="1" dirty="0" smtClean="0">
                <a:solidFill>
                  <a:srgbClr val="FFFF00"/>
                </a:solidFill>
              </a:rPr>
              <a:t>methods				 </a:t>
            </a:r>
            <a:r>
              <a:rPr lang="en-US" b="1" dirty="0">
                <a:solidFill>
                  <a:srgbClr val="FFFF00"/>
                </a:solidFill>
              </a:rPr>
              <a:t>(2008-09, 2009-10, 2010-11 and 2011-12 influenza seasons) by percentage </a:t>
            </a:r>
            <a:endParaRPr lang="fr-BE" dirty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Rechte verbindingslijn 2"/>
          <p:cNvCxnSpPr/>
          <p:nvPr/>
        </p:nvCxnSpPr>
        <p:spPr>
          <a:xfrm>
            <a:off x="819151" y="1523627"/>
            <a:ext cx="75718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2"/>
          <p:cNvSpPr txBox="1">
            <a:spLocks/>
          </p:cNvSpPr>
          <p:nvPr/>
        </p:nvSpPr>
        <p:spPr>
          <a:xfrm>
            <a:off x="819151" y="204490"/>
            <a:ext cx="7074273" cy="142431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3000" b="1" dirty="0" smtClean="0">
                <a:solidFill>
                  <a:srgbClr val="00A4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lke dekkingsgraad is aanbevolen/ ?</a:t>
            </a:r>
            <a:r>
              <a:rPr lang="nl-BE" sz="3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nl-BE" sz="3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l taux de couverture est recommandé /</a:t>
            </a:r>
            <a:r>
              <a:rPr lang="fr-FR" sz="3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tenu</a:t>
            </a:r>
            <a:r>
              <a:rPr lang="fr-FR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en-US" sz="3000" b="1" dirty="0" smtClean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18</a:t>
            </a:fld>
            <a:endParaRPr lang="nl-BE"/>
          </a:p>
        </p:txBody>
      </p:sp>
      <p:sp>
        <p:nvSpPr>
          <p:cNvPr id="18" name="TextBox 1"/>
          <p:cNvSpPr txBox="1"/>
          <p:nvPr/>
        </p:nvSpPr>
        <p:spPr>
          <a:xfrm>
            <a:off x="1211029" y="1499287"/>
            <a:ext cx="172835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7200" b="1" dirty="0">
                <a:solidFill>
                  <a:srgbClr val="595150"/>
                </a:solidFill>
              </a:rPr>
              <a:t>75</a:t>
            </a:r>
            <a:r>
              <a:rPr lang="nl-BE" sz="7200" dirty="0">
                <a:solidFill>
                  <a:srgbClr val="595150"/>
                </a:solidFill>
              </a:rPr>
              <a:t>%</a:t>
            </a:r>
            <a:endParaRPr lang="en-GB" sz="7200" dirty="0">
              <a:solidFill>
                <a:srgbClr val="595150"/>
              </a:solidFill>
            </a:endParaRPr>
          </a:p>
        </p:txBody>
      </p:sp>
      <p:pic>
        <p:nvPicPr>
          <p:cNvPr id="19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39" r="16638"/>
          <a:stretch/>
        </p:blipFill>
        <p:spPr>
          <a:xfrm>
            <a:off x="4579786" y="1906181"/>
            <a:ext cx="1380845" cy="1978969"/>
          </a:xfrm>
          <a:prstGeom prst="roundRect">
            <a:avLst>
              <a:gd name="adj" fmla="val 3513"/>
            </a:avLst>
          </a:prstGeom>
          <a:solidFill>
            <a:srgbClr val="FFFFFF"/>
          </a:solidFill>
          <a:ln w="9525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20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59" t="6930" r="16192" b="29534"/>
          <a:stretch/>
        </p:blipFill>
        <p:spPr>
          <a:xfrm rot="294682">
            <a:off x="2820720" y="4548778"/>
            <a:ext cx="1638671" cy="145769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9525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21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43" t="24637" r="24157" b="23879"/>
          <a:stretch/>
        </p:blipFill>
        <p:spPr>
          <a:xfrm rot="21449873">
            <a:off x="2372716" y="2477040"/>
            <a:ext cx="1868571" cy="174058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9525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22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386"/>
          <a:stretch/>
        </p:blipFill>
        <p:spPr>
          <a:xfrm rot="21251211">
            <a:off x="536192" y="2903091"/>
            <a:ext cx="1413015" cy="202885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9525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553880"/>
            <a:ext cx="1225893" cy="110098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9"/>
          <p:cNvSpPr txBox="1"/>
          <p:nvPr/>
        </p:nvSpPr>
        <p:spPr>
          <a:xfrm>
            <a:off x="731393" y="3442263"/>
            <a:ext cx="152477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6000" b="1" dirty="0">
                <a:solidFill>
                  <a:srgbClr val="FF0000"/>
                </a:solidFill>
              </a:rPr>
              <a:t>20%</a:t>
            </a:r>
            <a:endParaRPr lang="en-GB" sz="6000" b="1" dirty="0">
              <a:solidFill>
                <a:srgbClr val="FF0000"/>
              </a:solidFill>
            </a:endParaRPr>
          </a:p>
        </p:txBody>
      </p:sp>
      <p:sp>
        <p:nvSpPr>
          <p:cNvPr id="25" name="TextBox 10"/>
          <p:cNvSpPr txBox="1"/>
          <p:nvPr/>
        </p:nvSpPr>
        <p:spPr>
          <a:xfrm>
            <a:off x="2784872" y="2809522"/>
            <a:ext cx="1661032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6600" b="1" dirty="0">
                <a:solidFill>
                  <a:srgbClr val="FF0000"/>
                </a:solidFill>
              </a:rPr>
              <a:t>60%</a:t>
            </a:r>
            <a:endParaRPr lang="en-GB" sz="6600" b="1" dirty="0">
              <a:solidFill>
                <a:srgbClr val="FF0000"/>
              </a:solidFill>
            </a:endParaRPr>
          </a:p>
        </p:txBody>
      </p:sp>
      <p:sp>
        <p:nvSpPr>
          <p:cNvPr id="26" name="TextBox 11"/>
          <p:cNvSpPr txBox="1"/>
          <p:nvPr/>
        </p:nvSpPr>
        <p:spPr>
          <a:xfrm>
            <a:off x="3407758" y="4711190"/>
            <a:ext cx="572964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8000" b="1" dirty="0">
                <a:solidFill>
                  <a:srgbClr val="00B0F0"/>
                </a:solidFill>
              </a:rPr>
              <a:t>?</a:t>
            </a:r>
            <a:r>
              <a:rPr lang="nl-BE" sz="8000" b="1" dirty="0" smtClean="0">
                <a:solidFill>
                  <a:srgbClr val="00B0F0"/>
                </a:solidFill>
              </a:rPr>
              <a:t> </a:t>
            </a:r>
            <a:endParaRPr lang="en-GB" sz="8000" b="1" dirty="0">
              <a:solidFill>
                <a:srgbClr val="00B0F0"/>
              </a:solidFill>
            </a:endParaRPr>
          </a:p>
        </p:txBody>
      </p:sp>
      <p:sp>
        <p:nvSpPr>
          <p:cNvPr id="27" name="TextBox 12"/>
          <p:cNvSpPr txBox="1"/>
          <p:nvPr/>
        </p:nvSpPr>
        <p:spPr>
          <a:xfrm>
            <a:off x="4736927" y="2295500"/>
            <a:ext cx="200247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7200" b="1" dirty="0">
                <a:solidFill>
                  <a:srgbClr val="FF0000"/>
                </a:solidFill>
              </a:rPr>
              <a:t>35% </a:t>
            </a:r>
            <a:endParaRPr lang="en-GB" sz="7200" b="1" dirty="0">
              <a:solidFill>
                <a:srgbClr val="FF0000"/>
              </a:solidFill>
            </a:endParaRPr>
          </a:p>
        </p:txBody>
      </p:sp>
      <p:sp>
        <p:nvSpPr>
          <p:cNvPr id="28" name="TextBox 13"/>
          <p:cNvSpPr txBox="1"/>
          <p:nvPr/>
        </p:nvSpPr>
        <p:spPr>
          <a:xfrm>
            <a:off x="6529546" y="2353355"/>
            <a:ext cx="224131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7200" dirty="0">
                <a:solidFill>
                  <a:srgbClr val="595150"/>
                </a:solidFill>
              </a:rPr>
              <a:t>~</a:t>
            </a:r>
            <a:r>
              <a:rPr lang="nl-BE" sz="7200" dirty="0">
                <a:solidFill>
                  <a:srgbClr val="FF0000"/>
                </a:solidFill>
              </a:rPr>
              <a:t>40%</a:t>
            </a:r>
            <a:endParaRPr lang="en-GB" sz="7200" dirty="0">
              <a:solidFill>
                <a:srgbClr val="FF0000"/>
              </a:solidFill>
            </a:endParaRPr>
          </a:p>
        </p:txBody>
      </p:sp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9150" y="1491959"/>
            <a:ext cx="1321778" cy="10756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1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786"/>
          <a:stretch/>
        </p:blipFill>
        <p:spPr>
          <a:xfrm rot="256677">
            <a:off x="4911667" y="4253828"/>
            <a:ext cx="1152371" cy="174601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9525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31" name="TextBox 15"/>
          <p:cNvSpPr txBox="1"/>
          <p:nvPr/>
        </p:nvSpPr>
        <p:spPr>
          <a:xfrm>
            <a:off x="5228897" y="4467715"/>
            <a:ext cx="89319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8000" b="1" dirty="0">
                <a:solidFill>
                  <a:srgbClr val="00B0F0"/>
                </a:solidFill>
              </a:rPr>
              <a:t>? </a:t>
            </a:r>
            <a:endParaRPr lang="en-GB" sz="8000" b="1" dirty="0">
              <a:solidFill>
                <a:srgbClr val="00B0F0"/>
              </a:solidFill>
            </a:endParaRPr>
          </a:p>
        </p:txBody>
      </p:sp>
      <p:sp>
        <p:nvSpPr>
          <p:cNvPr id="5" name="Tekstvak 4"/>
          <p:cNvSpPr txBox="1"/>
          <p:nvPr/>
        </p:nvSpPr>
        <p:spPr>
          <a:xfrm>
            <a:off x="6433211" y="3887950"/>
            <a:ext cx="2674541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endParaRPr lang="nl-BE" sz="16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4593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>
          <a:xfrm>
            <a:off x="3851275" y="2708275"/>
            <a:ext cx="4906963" cy="1069975"/>
          </a:xfrm>
        </p:spPr>
        <p:txBody>
          <a:bodyPr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fr-BE" dirty="0" err="1" smtClean="0"/>
              <a:t>Flu</a:t>
            </a:r>
            <a:r>
              <a:rPr lang="fr-BE" dirty="0" smtClean="0"/>
              <a:t> vaccination of </a:t>
            </a:r>
            <a:r>
              <a:rPr lang="fr-BE" dirty="0" err="1" smtClean="0"/>
              <a:t>pregnant</a:t>
            </a:r>
            <a:r>
              <a:rPr lang="fr-BE" dirty="0" smtClean="0"/>
              <a:t> </a:t>
            </a:r>
            <a:r>
              <a:rPr lang="fr-BE" dirty="0" err="1" smtClean="0"/>
              <a:t>women</a:t>
            </a:r>
            <a:endParaRPr lang="fr-FR" b="1" dirty="0" smtClean="0"/>
          </a:p>
        </p:txBody>
      </p:sp>
      <p:pic>
        <p:nvPicPr>
          <p:cNvPr id="21507" name="Picture 3" descr="C:\Documents and Settings\gerarmi\My Documents\My Pictures\grossesse.bmp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95536" y="1124744"/>
            <a:ext cx="3132386" cy="459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Rechte verbindingslijn 2"/>
          <p:cNvCxnSpPr/>
          <p:nvPr/>
        </p:nvCxnSpPr>
        <p:spPr>
          <a:xfrm>
            <a:off x="837549" y="1520825"/>
            <a:ext cx="75718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2"/>
          <p:cNvSpPr txBox="1">
            <a:spLocks/>
          </p:cNvSpPr>
          <p:nvPr/>
        </p:nvSpPr>
        <p:spPr>
          <a:xfrm>
            <a:off x="819151" y="204493"/>
            <a:ext cx="7074273" cy="124801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3000" b="1" dirty="0" smtClean="0">
                <a:solidFill>
                  <a:srgbClr val="00A4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 is griep?</a:t>
            </a:r>
            <a:r>
              <a:rPr lang="nl-BE" sz="3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nl-BE" sz="3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l-BE" sz="3000" b="1" dirty="0" err="1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’est</a:t>
            </a:r>
            <a:r>
              <a:rPr lang="nl-BE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l-BE" sz="3000" b="1" dirty="0" err="1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oi</a:t>
            </a:r>
            <a:r>
              <a:rPr lang="nl-BE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nl-BE" sz="3000" b="1" dirty="0" err="1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ippe</a:t>
            </a:r>
            <a:r>
              <a:rPr lang="nl-BE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?</a:t>
            </a:r>
            <a:endParaRPr lang="en-US" sz="3000" b="1" dirty="0" smtClean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2</a:t>
            </a:fld>
            <a:endParaRPr lang="nl-BE"/>
          </a:p>
        </p:txBody>
      </p:sp>
      <p:sp>
        <p:nvSpPr>
          <p:cNvPr id="207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298543" y="1702502"/>
            <a:ext cx="2253603" cy="2662602"/>
          </a:xfrm>
          <a:prstGeom prst="rect">
            <a:avLst/>
          </a:prstGeom>
          <a:solidFill>
            <a:srgbClr val="FFFFFF"/>
          </a:solidFill>
          <a:ln w="19050">
            <a:solidFill>
              <a:srgbClr val="EAEAEA"/>
            </a:solidFill>
            <a:miter lim="800000"/>
            <a:headEnd/>
            <a:tailEnd/>
          </a:ln>
          <a:effectLst>
            <a:outerShdw dist="53882" dir="2700000" algn="ctr" rotWithShape="0">
              <a:srgbClr val="B2B2B2"/>
            </a:outerShdw>
          </a:effectLst>
        </p:spPr>
        <p:txBody>
          <a:bodyPr lIns="108000" tIns="36000" rIns="144000" bIns="72000"/>
          <a:lstStyle>
            <a:lvl1pPr marL="190500" indent="-1905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1CADE4"/>
              </a:buClr>
            </a:pPr>
            <a:r>
              <a:rPr lang="nl-BE" sz="1200" b="1" dirty="0" err="1" smtClean="0">
                <a:solidFill>
                  <a:prstClr val="black"/>
                </a:solidFill>
              </a:rPr>
              <a:t>Neuraminidase</a:t>
            </a:r>
            <a:r>
              <a:rPr lang="nl-BE" sz="1200" b="1" dirty="0" smtClean="0">
                <a:solidFill>
                  <a:prstClr val="black"/>
                </a:solidFill>
              </a:rPr>
              <a:t> (N of/</a:t>
            </a:r>
            <a:r>
              <a:rPr lang="nl-BE" sz="1200" b="1" dirty="0" err="1" smtClean="0">
                <a:solidFill>
                  <a:prstClr val="black"/>
                </a:solidFill>
              </a:rPr>
              <a:t>ou</a:t>
            </a:r>
            <a:r>
              <a:rPr lang="nl-BE" sz="1200" b="1" dirty="0" smtClean="0">
                <a:solidFill>
                  <a:prstClr val="black"/>
                </a:solidFill>
              </a:rPr>
              <a:t> NA)</a:t>
            </a:r>
            <a:endParaRPr lang="nl-BE" altLang="nl-NL" sz="1200" b="1" dirty="0" smtClean="0">
              <a:solidFill>
                <a:prstClr val="black"/>
              </a:solidFill>
            </a:endParaRPr>
          </a:p>
          <a:p>
            <a:pPr eaLnBrk="1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1CADE4"/>
              </a:buClr>
              <a:buFont typeface="Wingdings" pitchFamily="2" charset="2"/>
              <a:buChar char="§"/>
            </a:pPr>
            <a:r>
              <a:rPr lang="nl-BE" altLang="nl-NL" sz="1200" dirty="0" smtClean="0">
                <a:solidFill>
                  <a:prstClr val="black"/>
                </a:solidFill>
              </a:rPr>
              <a:t>Verlaagt </a:t>
            </a:r>
            <a:r>
              <a:rPr lang="nl-BE" altLang="nl-NL" sz="1200" dirty="0">
                <a:solidFill>
                  <a:prstClr val="black"/>
                </a:solidFill>
              </a:rPr>
              <a:t>viscositeit van de slijmlaag in de luchtpijp / </a:t>
            </a:r>
            <a:r>
              <a:rPr lang="fr-FR" altLang="nl-NL" sz="1200" dirty="0" smtClean="0">
                <a:solidFill>
                  <a:prstClr val="black"/>
                </a:solidFill>
              </a:rPr>
              <a:t>Réduit </a:t>
            </a:r>
            <a:r>
              <a:rPr lang="fr-FR" altLang="nl-NL" sz="1200" dirty="0">
                <a:solidFill>
                  <a:prstClr val="black"/>
                </a:solidFill>
              </a:rPr>
              <a:t>la viscosité de la couche de mucus de la </a:t>
            </a:r>
            <a:r>
              <a:rPr lang="fr-FR" altLang="nl-NL" sz="1200" dirty="0" smtClean="0">
                <a:solidFill>
                  <a:prstClr val="black"/>
                </a:solidFill>
              </a:rPr>
              <a:t>trachée</a:t>
            </a:r>
          </a:p>
          <a:p>
            <a:pPr eaLnBrk="1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1CADE4"/>
              </a:buClr>
              <a:buFont typeface="Wingdings" pitchFamily="2" charset="2"/>
              <a:buChar char="§"/>
            </a:pPr>
            <a:r>
              <a:rPr lang="nl-BE" altLang="nl-NL" sz="1200" dirty="0" smtClean="0">
                <a:solidFill>
                  <a:prstClr val="black"/>
                </a:solidFill>
              </a:rPr>
              <a:t>Laat afgifte van de nieuwe virussen toe die gevormd zijn uit geïnfecteerde cellen / </a:t>
            </a:r>
            <a:r>
              <a:rPr lang="fr-FR" altLang="nl-NL" sz="1200" dirty="0" smtClean="0">
                <a:solidFill>
                  <a:srgbClr val="FF0000"/>
                </a:solidFill>
              </a:rPr>
              <a:t>Permet la libération des virus formés à partir de cellules infectées</a:t>
            </a:r>
            <a:endParaRPr lang="en-US" altLang="nl-NL" sz="1200" dirty="0">
              <a:solidFill>
                <a:srgbClr val="FF0000"/>
              </a:solidFill>
            </a:endParaRPr>
          </a:p>
        </p:txBody>
      </p:sp>
      <p:sp>
        <p:nvSpPr>
          <p:cNvPr id="208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987824" y="4797153"/>
            <a:ext cx="3312368" cy="1224136"/>
          </a:xfrm>
          <a:prstGeom prst="rect">
            <a:avLst/>
          </a:prstGeom>
          <a:solidFill>
            <a:srgbClr val="FFFFFF"/>
          </a:solidFill>
          <a:ln w="19050">
            <a:solidFill>
              <a:srgbClr val="EAEAEA"/>
            </a:solidFill>
            <a:miter lim="800000"/>
            <a:headEnd/>
            <a:tailEnd/>
          </a:ln>
          <a:effectLst>
            <a:outerShdw dist="53882" dir="2700000" algn="ctr" rotWithShape="0">
              <a:srgbClr val="B2B2B2"/>
            </a:outerShdw>
          </a:effectLst>
        </p:spPr>
        <p:txBody>
          <a:bodyPr lIns="108000" tIns="36000" rIns="144000" bIns="72000"/>
          <a:lstStyle>
            <a:lvl1pPr marL="190500" indent="-1905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381000" indent="-188913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92087" lvl="1" indent="0" eaLnBrk="1" hangingPunct="1">
              <a:lnSpc>
                <a:spcPct val="95000"/>
              </a:lnSpc>
              <a:spcBef>
                <a:spcPct val="0"/>
              </a:spcBef>
              <a:buClr>
                <a:srgbClr val="1CADE4"/>
              </a:buClr>
            </a:pPr>
            <a:r>
              <a:rPr lang="nl-BE" sz="1200" b="1" dirty="0" err="1" smtClean="0">
                <a:solidFill>
                  <a:prstClr val="black"/>
                </a:solidFill>
              </a:rPr>
              <a:t>Ribonucleoproteïne</a:t>
            </a:r>
            <a:r>
              <a:rPr lang="nl-BE" sz="1200" b="1" dirty="0" smtClean="0">
                <a:solidFill>
                  <a:prstClr val="black"/>
                </a:solidFill>
              </a:rPr>
              <a:t> / </a:t>
            </a:r>
            <a:r>
              <a:rPr lang="nl-BE" sz="1200" b="1" dirty="0" err="1" smtClean="0">
                <a:solidFill>
                  <a:srgbClr val="FF0000"/>
                </a:solidFill>
              </a:rPr>
              <a:t>Ribonucleoprotéine</a:t>
            </a:r>
            <a:endParaRPr lang="en-US" altLang="nl-NL" sz="1200" b="1" dirty="0" smtClean="0">
              <a:solidFill>
                <a:srgbClr val="FF0000"/>
              </a:solidFill>
            </a:endParaRPr>
          </a:p>
          <a:p>
            <a:pPr lvl="1" eaLnBrk="1" hangingPunct="1">
              <a:lnSpc>
                <a:spcPct val="95000"/>
              </a:lnSpc>
              <a:spcBef>
                <a:spcPct val="0"/>
              </a:spcBef>
              <a:buClr>
                <a:srgbClr val="1CADE4"/>
              </a:buClr>
              <a:buFont typeface="Wingdings" pitchFamily="2" charset="2"/>
              <a:buChar char="§"/>
            </a:pPr>
            <a:r>
              <a:rPr lang="en-US" altLang="nl-NL" sz="1200" dirty="0" smtClean="0">
                <a:solidFill>
                  <a:prstClr val="black"/>
                </a:solidFill>
              </a:rPr>
              <a:t>RNA (</a:t>
            </a:r>
            <a:r>
              <a:rPr lang="en-US" altLang="nl-NL" sz="1200" dirty="0" err="1" smtClean="0">
                <a:solidFill>
                  <a:prstClr val="black"/>
                </a:solidFill>
              </a:rPr>
              <a:t>genetische</a:t>
            </a:r>
            <a:r>
              <a:rPr lang="en-US" altLang="nl-NL" sz="1200" dirty="0" smtClean="0">
                <a:solidFill>
                  <a:prstClr val="black"/>
                </a:solidFill>
              </a:rPr>
              <a:t> code</a:t>
            </a:r>
            <a:r>
              <a:rPr lang="en-US" altLang="nl-NL" sz="1200" dirty="0">
                <a:solidFill>
                  <a:prstClr val="black"/>
                </a:solidFill>
              </a:rPr>
              <a:t>) </a:t>
            </a:r>
            <a:r>
              <a:rPr lang="en-US" altLang="nl-NL" sz="1200" dirty="0">
                <a:solidFill>
                  <a:srgbClr val="FF0000"/>
                </a:solidFill>
              </a:rPr>
              <a:t>/  ARN </a:t>
            </a:r>
            <a:r>
              <a:rPr lang="en-US" altLang="nl-NL" sz="1200" dirty="0" smtClean="0">
                <a:solidFill>
                  <a:srgbClr val="FF0000"/>
                </a:solidFill>
              </a:rPr>
              <a:t>(code </a:t>
            </a:r>
            <a:r>
              <a:rPr lang="en-US" altLang="nl-NL" sz="1200" dirty="0" err="1" smtClean="0">
                <a:solidFill>
                  <a:srgbClr val="FF0000"/>
                </a:solidFill>
              </a:rPr>
              <a:t>génétique</a:t>
            </a:r>
            <a:r>
              <a:rPr lang="en-US" altLang="nl-NL" sz="1200" dirty="0" smtClean="0">
                <a:solidFill>
                  <a:srgbClr val="FF0000"/>
                </a:solidFill>
              </a:rPr>
              <a:t>)</a:t>
            </a:r>
            <a:endParaRPr lang="en-US" altLang="nl-NL" sz="1200" dirty="0">
              <a:solidFill>
                <a:srgbClr val="FF0000"/>
              </a:solidFill>
            </a:endParaRPr>
          </a:p>
          <a:p>
            <a:pPr lvl="1" eaLnBrk="1" hangingPunct="1">
              <a:lnSpc>
                <a:spcPct val="95000"/>
              </a:lnSpc>
              <a:spcBef>
                <a:spcPct val="0"/>
              </a:spcBef>
              <a:buClr>
                <a:srgbClr val="1CADE4"/>
              </a:buClr>
              <a:buFont typeface="Wingdings" pitchFamily="2" charset="2"/>
              <a:buChar char="§"/>
            </a:pPr>
            <a:r>
              <a:rPr lang="en-US" altLang="nl-NL" sz="1200" dirty="0" err="1" smtClean="0">
                <a:solidFill>
                  <a:prstClr val="black"/>
                </a:solidFill>
              </a:rPr>
              <a:t>Nucleoproteïne</a:t>
            </a:r>
            <a:r>
              <a:rPr lang="en-US" altLang="nl-NL" sz="1200" dirty="0" smtClean="0">
                <a:solidFill>
                  <a:prstClr val="black"/>
                </a:solidFill>
              </a:rPr>
              <a:t> (</a:t>
            </a:r>
            <a:r>
              <a:rPr lang="en-US" altLang="nl-NL" sz="1200" dirty="0">
                <a:solidFill>
                  <a:prstClr val="black"/>
                </a:solidFill>
              </a:rPr>
              <a:t>NP) / </a:t>
            </a:r>
            <a:r>
              <a:rPr lang="en-US" altLang="nl-NL" sz="1200" dirty="0" err="1">
                <a:solidFill>
                  <a:srgbClr val="FF0000"/>
                </a:solidFill>
              </a:rPr>
              <a:t>Nucléoprotéine</a:t>
            </a:r>
            <a:r>
              <a:rPr lang="en-US" altLang="nl-NL" sz="1200" dirty="0">
                <a:solidFill>
                  <a:srgbClr val="FF0000"/>
                </a:solidFill>
              </a:rPr>
              <a:t> </a:t>
            </a:r>
            <a:r>
              <a:rPr lang="en-US" altLang="nl-NL" sz="1200" dirty="0" smtClean="0">
                <a:solidFill>
                  <a:srgbClr val="FF0000"/>
                </a:solidFill>
              </a:rPr>
              <a:t>(NP)</a:t>
            </a:r>
            <a:endParaRPr lang="en-US" altLang="nl-NL" sz="1200" dirty="0">
              <a:solidFill>
                <a:srgbClr val="FF0000"/>
              </a:solidFill>
            </a:endParaRPr>
          </a:p>
        </p:txBody>
      </p:sp>
      <p:sp>
        <p:nvSpPr>
          <p:cNvPr id="209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248849" y="3879327"/>
            <a:ext cx="1931504" cy="1997945"/>
          </a:xfrm>
          <a:prstGeom prst="rect">
            <a:avLst/>
          </a:prstGeom>
          <a:solidFill>
            <a:srgbClr val="FFFFFF"/>
          </a:solidFill>
          <a:ln w="19050">
            <a:solidFill>
              <a:srgbClr val="EAEAEA"/>
            </a:solidFill>
            <a:miter lim="800000"/>
            <a:headEnd/>
            <a:tailEnd/>
          </a:ln>
          <a:effectLst>
            <a:outerShdw dist="53882" dir="2700000" algn="ctr" rotWithShape="0">
              <a:srgbClr val="B2B2B2"/>
            </a:outerShdw>
          </a:effectLst>
        </p:spPr>
        <p:txBody>
          <a:bodyPr lIns="108000" tIns="36000" rIns="144000" bIns="72000"/>
          <a:lstStyle>
            <a:lvl1pPr marL="190500" indent="-1905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1CADE4"/>
              </a:buClr>
            </a:pPr>
            <a:r>
              <a:rPr lang="nl-BE" altLang="nl-NL" sz="1400" b="1" dirty="0" smtClean="0">
                <a:solidFill>
                  <a:prstClr val="black"/>
                </a:solidFill>
              </a:rPr>
              <a:t>M1 proteïne / </a:t>
            </a:r>
            <a:r>
              <a:rPr lang="nl-BE" altLang="nl-NL" sz="1400" b="1" dirty="0" err="1" smtClean="0">
                <a:solidFill>
                  <a:srgbClr val="FF0000"/>
                </a:solidFill>
              </a:rPr>
              <a:t>Protéine</a:t>
            </a:r>
            <a:r>
              <a:rPr lang="nl-BE" altLang="nl-NL" sz="1400" b="1" dirty="0" smtClean="0">
                <a:solidFill>
                  <a:srgbClr val="FF0000"/>
                </a:solidFill>
              </a:rPr>
              <a:t> </a:t>
            </a:r>
            <a:r>
              <a:rPr lang="nl-BE" altLang="nl-NL" sz="1400" b="1" dirty="0">
                <a:solidFill>
                  <a:srgbClr val="FF0000"/>
                </a:solidFill>
              </a:rPr>
              <a:t>M1</a:t>
            </a:r>
            <a:endParaRPr lang="nl-BE" altLang="nl-NL" sz="1400" b="1" dirty="0" smtClean="0">
              <a:solidFill>
                <a:srgbClr val="FF0000"/>
              </a:solidFill>
            </a:endParaRPr>
          </a:p>
          <a:p>
            <a:pPr eaLnBrk="1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1CADE4"/>
              </a:buClr>
              <a:buFont typeface="Wingdings" pitchFamily="2" charset="2"/>
              <a:buChar char="§"/>
            </a:pPr>
            <a:r>
              <a:rPr lang="nl-BE" altLang="nl-NL" sz="1400" dirty="0" smtClean="0">
                <a:solidFill>
                  <a:prstClr val="black"/>
                </a:solidFill>
              </a:rPr>
              <a:t>Een </a:t>
            </a:r>
            <a:r>
              <a:rPr lang="nl-BE" altLang="nl-NL" sz="1400" dirty="0">
                <a:solidFill>
                  <a:prstClr val="black"/>
                </a:solidFill>
              </a:rPr>
              <a:t>matrix </a:t>
            </a:r>
            <a:r>
              <a:rPr lang="nl-BE" altLang="nl-NL" sz="1400" dirty="0" smtClean="0">
                <a:solidFill>
                  <a:prstClr val="black"/>
                </a:solidFill>
              </a:rPr>
              <a:t>proteïne dat </a:t>
            </a:r>
            <a:r>
              <a:rPr lang="nl-BE" altLang="nl-NL" sz="1400" dirty="0">
                <a:solidFill>
                  <a:prstClr val="black"/>
                </a:solidFill>
              </a:rPr>
              <a:t>het virale </a:t>
            </a:r>
            <a:r>
              <a:rPr lang="nl-BE" altLang="nl-NL" sz="1400" dirty="0" err="1">
                <a:solidFill>
                  <a:prstClr val="black"/>
                </a:solidFill>
              </a:rPr>
              <a:t>capside</a:t>
            </a:r>
            <a:r>
              <a:rPr lang="nl-BE" altLang="nl-NL" sz="1400" dirty="0">
                <a:solidFill>
                  <a:prstClr val="black"/>
                </a:solidFill>
              </a:rPr>
              <a:t> </a:t>
            </a:r>
            <a:r>
              <a:rPr lang="nl-BE" altLang="nl-NL" sz="1400" dirty="0" smtClean="0">
                <a:solidFill>
                  <a:prstClr val="black"/>
                </a:solidFill>
              </a:rPr>
              <a:t>vormt / </a:t>
            </a:r>
            <a:r>
              <a:rPr lang="fr-FR" sz="1400" dirty="0">
                <a:solidFill>
                  <a:prstClr val="black"/>
                </a:solidFill>
              </a:rPr>
              <a:t/>
            </a:r>
            <a:br>
              <a:rPr lang="fr-FR" sz="1400" dirty="0">
                <a:solidFill>
                  <a:prstClr val="black"/>
                </a:solidFill>
              </a:rPr>
            </a:br>
            <a:r>
              <a:rPr lang="fr-FR" sz="1400" dirty="0">
                <a:solidFill>
                  <a:srgbClr val="FF0000"/>
                </a:solidFill>
              </a:rPr>
              <a:t>Une protéine de matrice qui forme la capside virale.</a:t>
            </a:r>
            <a:endParaRPr lang="en-US" altLang="nl-NL" sz="1400" dirty="0">
              <a:solidFill>
                <a:srgbClr val="FF0000"/>
              </a:solidFill>
            </a:endParaRPr>
          </a:p>
        </p:txBody>
      </p:sp>
      <p:pic>
        <p:nvPicPr>
          <p:cNvPr id="211" name="Picture 3" descr="FO 51_01 virus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3531" y="1556793"/>
            <a:ext cx="2668688" cy="2952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0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95536" y="1556792"/>
            <a:ext cx="3020546" cy="2075339"/>
          </a:xfrm>
          <a:prstGeom prst="rect">
            <a:avLst/>
          </a:prstGeom>
          <a:solidFill>
            <a:srgbClr val="FFFFFF"/>
          </a:solidFill>
          <a:ln w="19050">
            <a:solidFill>
              <a:srgbClr val="EAEAEA"/>
            </a:solidFill>
            <a:miter lim="800000"/>
            <a:headEnd/>
            <a:tailEnd/>
          </a:ln>
          <a:effectLst>
            <a:outerShdw dist="53882" dir="2700000" algn="ctr" rotWithShape="0">
              <a:srgbClr val="B2B2B2"/>
            </a:outerShdw>
          </a:effectLst>
        </p:spPr>
        <p:txBody>
          <a:bodyPr lIns="108000" tIns="36000" rIns="144000" bIns="72000"/>
          <a:lstStyle>
            <a:lvl1pPr marL="190500" indent="-1905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1CADE4"/>
              </a:buClr>
            </a:pPr>
            <a:r>
              <a:rPr lang="nl-BE" altLang="nl-NL" sz="1400" b="1" dirty="0" smtClean="0">
                <a:solidFill>
                  <a:prstClr val="black"/>
                </a:solidFill>
              </a:rPr>
              <a:t>Hemagglutinine / </a:t>
            </a:r>
            <a:r>
              <a:rPr lang="nl-BE" altLang="nl-NL" sz="1400" b="1" dirty="0" smtClean="0">
                <a:solidFill>
                  <a:srgbClr val="FF0000"/>
                </a:solidFill>
              </a:rPr>
              <a:t>Hémagglutinine </a:t>
            </a:r>
            <a:r>
              <a:rPr lang="nl-BE" altLang="nl-NL" sz="1400" b="1" dirty="0" smtClean="0">
                <a:solidFill>
                  <a:prstClr val="black"/>
                </a:solidFill>
              </a:rPr>
              <a:t>(H of/</a:t>
            </a:r>
            <a:r>
              <a:rPr lang="nl-BE" altLang="nl-NL" sz="1400" b="1" dirty="0" err="1" smtClean="0">
                <a:solidFill>
                  <a:prstClr val="black"/>
                </a:solidFill>
              </a:rPr>
              <a:t>ou</a:t>
            </a:r>
            <a:r>
              <a:rPr lang="nl-BE" altLang="nl-NL" sz="1400" b="1" dirty="0" smtClean="0">
                <a:solidFill>
                  <a:prstClr val="black"/>
                </a:solidFill>
              </a:rPr>
              <a:t> HA)</a:t>
            </a:r>
            <a:endParaRPr lang="nl-BE" altLang="nl-NL" sz="1400" b="1" dirty="0">
              <a:solidFill>
                <a:prstClr val="black"/>
              </a:solidFill>
            </a:endParaRPr>
          </a:p>
          <a:p>
            <a:pPr eaLnBrk="1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1CADE4"/>
              </a:buClr>
              <a:buFont typeface="Wingdings" pitchFamily="2" charset="2"/>
              <a:buChar char="§"/>
            </a:pPr>
            <a:r>
              <a:rPr lang="nl-BE" altLang="nl-NL" sz="1200" dirty="0" smtClean="0">
                <a:solidFill>
                  <a:prstClr val="black"/>
                </a:solidFill>
              </a:rPr>
              <a:t>Verantwoordelijk voor </a:t>
            </a:r>
            <a:r>
              <a:rPr lang="nl-BE" altLang="nl-NL" sz="1200" dirty="0" err="1" smtClean="0">
                <a:solidFill>
                  <a:prstClr val="black"/>
                </a:solidFill>
              </a:rPr>
              <a:t>pathogeniciteit</a:t>
            </a:r>
            <a:r>
              <a:rPr lang="nl-BE" altLang="nl-NL" sz="1200" dirty="0" smtClean="0">
                <a:solidFill>
                  <a:prstClr val="black"/>
                </a:solidFill>
              </a:rPr>
              <a:t> van het virus / </a:t>
            </a:r>
            <a:r>
              <a:rPr lang="fr-FR" altLang="nl-NL" sz="1200" dirty="0" smtClean="0">
                <a:solidFill>
                  <a:srgbClr val="FF0000"/>
                </a:solidFill>
              </a:rPr>
              <a:t>Responsable de la pathogénicité du virus</a:t>
            </a:r>
            <a:endParaRPr lang="nl-BE" altLang="nl-NL" sz="1200" dirty="0" smtClean="0">
              <a:solidFill>
                <a:srgbClr val="FF0000"/>
              </a:solidFill>
            </a:endParaRPr>
          </a:p>
          <a:p>
            <a:pPr eaLnBrk="1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1CADE4"/>
              </a:buClr>
              <a:buFont typeface="Wingdings" pitchFamily="2" charset="2"/>
              <a:buChar char="§"/>
            </a:pPr>
            <a:r>
              <a:rPr lang="nl-BE" altLang="nl-NL" sz="1200" dirty="0" smtClean="0">
                <a:solidFill>
                  <a:prstClr val="black"/>
                </a:solidFill>
              </a:rPr>
              <a:t>Laat het virus toe zich aan de epitheelcellen in de luchtwegen te hechten </a:t>
            </a:r>
            <a:r>
              <a:rPr lang="nl-BE" altLang="nl-NL" sz="1200" dirty="0" smtClean="0">
                <a:solidFill>
                  <a:srgbClr val="FF0000"/>
                </a:solidFill>
              </a:rPr>
              <a:t>/ </a:t>
            </a:r>
            <a:r>
              <a:rPr lang="nl-BE" altLang="nl-NL" sz="1200" dirty="0" err="1" smtClean="0">
                <a:solidFill>
                  <a:srgbClr val="FF0000"/>
                </a:solidFill>
              </a:rPr>
              <a:t>Permet</a:t>
            </a:r>
            <a:r>
              <a:rPr lang="nl-BE" altLang="nl-NL" sz="1200" dirty="0" smtClean="0">
                <a:solidFill>
                  <a:srgbClr val="FF0000"/>
                </a:solidFill>
              </a:rPr>
              <a:t> au</a:t>
            </a:r>
            <a:r>
              <a:rPr lang="fr-FR" altLang="nl-NL" sz="1200" dirty="0" smtClean="0">
                <a:solidFill>
                  <a:srgbClr val="FF0000"/>
                </a:solidFill>
              </a:rPr>
              <a:t> </a:t>
            </a:r>
            <a:r>
              <a:rPr lang="fr-FR" altLang="nl-NL" sz="1200" dirty="0">
                <a:solidFill>
                  <a:srgbClr val="FF0000"/>
                </a:solidFill>
              </a:rPr>
              <a:t>virus </a:t>
            </a:r>
            <a:r>
              <a:rPr lang="fr-FR" altLang="nl-NL" sz="1200" dirty="0" smtClean="0">
                <a:solidFill>
                  <a:srgbClr val="FF0000"/>
                </a:solidFill>
              </a:rPr>
              <a:t> </a:t>
            </a:r>
            <a:r>
              <a:rPr lang="fr-FR" altLang="nl-NL" sz="1200" dirty="0">
                <a:solidFill>
                  <a:srgbClr val="FF0000"/>
                </a:solidFill>
              </a:rPr>
              <a:t>d'adhérer aux cellules épithéliales des voies respiratoires</a:t>
            </a:r>
            <a:endParaRPr lang="en-US" altLang="nl-NL" sz="1200" dirty="0">
              <a:solidFill>
                <a:srgbClr val="FF0000"/>
              </a:solidFill>
            </a:endParaRPr>
          </a:p>
        </p:txBody>
      </p:sp>
      <p:sp>
        <p:nvSpPr>
          <p:cNvPr id="212" name="Text Box 17"/>
          <p:cNvSpPr txBox="1">
            <a:spLocks noChangeArrowheads="1"/>
          </p:cNvSpPr>
          <p:nvPr/>
        </p:nvSpPr>
        <p:spPr bwMode="auto">
          <a:xfrm>
            <a:off x="-28462" y="6169273"/>
            <a:ext cx="613968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spcBef>
                <a:spcPct val="0"/>
              </a:spcBef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0"/>
              </a:spcBef>
              <a:spcAft>
                <a:spcPct val="30000"/>
              </a:spcAft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0"/>
              </a:spcBef>
              <a:spcAft>
                <a:spcPct val="30000"/>
              </a:spcAft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0"/>
              </a:spcBef>
              <a:spcAft>
                <a:spcPct val="30000"/>
              </a:spcAft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0"/>
              </a:spcBef>
              <a:spcAft>
                <a:spcPct val="30000"/>
              </a:spcAft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30000"/>
              </a:spcAft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30000"/>
              </a:spcAft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30000"/>
              </a:spcAft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30000"/>
              </a:spcAft>
              <a:buChar char="–"/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</a:pPr>
            <a:r>
              <a:rPr lang="en-US" altLang="de-DE" sz="900" dirty="0" err="1">
                <a:solidFill>
                  <a:prstClr val="black"/>
                </a:solidFill>
              </a:rPr>
              <a:t>Ruigrok</a:t>
            </a:r>
            <a:r>
              <a:rPr lang="en-US" altLang="de-DE" sz="900" dirty="0">
                <a:solidFill>
                  <a:prstClr val="black"/>
                </a:solidFill>
              </a:rPr>
              <a:t> RWH. Structure of influenza A, B and C viruses. In: Nicholson KG, Webster RG, Hay AJ, editors. </a:t>
            </a:r>
            <a:r>
              <a:rPr lang="en-US" altLang="de-DE" sz="900" i="1" dirty="0">
                <a:solidFill>
                  <a:prstClr val="black"/>
                </a:solidFill>
              </a:rPr>
              <a:t>Textbook of Influenza</a:t>
            </a:r>
            <a:r>
              <a:rPr lang="en-US" altLang="de-DE" sz="900" dirty="0">
                <a:solidFill>
                  <a:prstClr val="black"/>
                </a:solidFill>
              </a:rPr>
              <a:t>. Blackwell Science; 1998:29–42</a:t>
            </a:r>
          </a:p>
        </p:txBody>
      </p:sp>
      <p:sp>
        <p:nvSpPr>
          <p:cNvPr id="213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298543" y="4476292"/>
            <a:ext cx="2233172" cy="1617004"/>
          </a:xfrm>
          <a:prstGeom prst="rect">
            <a:avLst/>
          </a:prstGeom>
          <a:solidFill>
            <a:srgbClr val="FFFFFF"/>
          </a:solidFill>
          <a:ln w="19050">
            <a:solidFill>
              <a:srgbClr val="EAEAEA"/>
            </a:solidFill>
            <a:miter lim="800000"/>
            <a:headEnd/>
            <a:tailEnd/>
          </a:ln>
          <a:effectLst>
            <a:outerShdw dist="53882" dir="2700000" algn="ctr" rotWithShape="0">
              <a:srgbClr val="B2B2B2"/>
            </a:outerShdw>
          </a:effectLst>
        </p:spPr>
        <p:txBody>
          <a:bodyPr lIns="108000" tIns="36000" rIns="144000" bIns="72000"/>
          <a:lstStyle>
            <a:lvl1pPr marL="190500" indent="-1905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1CADE4"/>
              </a:buClr>
            </a:pPr>
            <a:r>
              <a:rPr lang="nl-BE" sz="1400" b="1" dirty="0" smtClean="0">
                <a:solidFill>
                  <a:prstClr val="black"/>
                </a:solidFill>
              </a:rPr>
              <a:t>M2 proteïne / </a:t>
            </a:r>
            <a:r>
              <a:rPr lang="nl-BE" sz="1400" b="1" dirty="0" err="1" smtClean="0">
                <a:solidFill>
                  <a:srgbClr val="FF0000"/>
                </a:solidFill>
              </a:rPr>
              <a:t>Protéine</a:t>
            </a:r>
            <a:r>
              <a:rPr lang="nl-BE" sz="1400" b="1" dirty="0" smtClean="0">
                <a:solidFill>
                  <a:srgbClr val="FF0000"/>
                </a:solidFill>
              </a:rPr>
              <a:t> </a:t>
            </a:r>
            <a:r>
              <a:rPr lang="nl-BE" sz="1400" b="1" dirty="0">
                <a:solidFill>
                  <a:prstClr val="black"/>
                </a:solidFill>
              </a:rPr>
              <a:t>M2</a:t>
            </a:r>
            <a:endParaRPr lang="nl-BE" altLang="nl-NL" sz="1400" dirty="0" smtClean="0">
              <a:solidFill>
                <a:prstClr val="black"/>
              </a:solidFill>
            </a:endParaRPr>
          </a:p>
          <a:p>
            <a:pPr eaLnBrk="1" hangingPunct="1">
              <a:lnSpc>
                <a:spcPct val="95000"/>
              </a:lnSpc>
              <a:spcBef>
                <a:spcPct val="0"/>
              </a:spcBef>
              <a:spcAft>
                <a:spcPct val="30000"/>
              </a:spcAft>
              <a:buClr>
                <a:srgbClr val="1CADE4"/>
              </a:buClr>
              <a:buFont typeface="Wingdings" pitchFamily="2" charset="2"/>
              <a:buChar char="§"/>
            </a:pPr>
            <a:r>
              <a:rPr lang="nl-BE" altLang="nl-NL" sz="1400" dirty="0" smtClean="0"/>
              <a:t>Functioneert als een ion-kanaal/ </a:t>
            </a:r>
            <a:r>
              <a:rPr lang="fr-FR" sz="1400" dirty="0" smtClean="0"/>
              <a:t/>
            </a:r>
            <a:br>
              <a:rPr lang="fr-FR" sz="1400" dirty="0" smtClean="0"/>
            </a:br>
            <a:r>
              <a:rPr lang="fr-FR" sz="1400" dirty="0" smtClean="0">
                <a:solidFill>
                  <a:srgbClr val="FF0000"/>
                </a:solidFill>
              </a:rPr>
              <a:t>Fonctionne comme un canal ionique </a:t>
            </a:r>
            <a:endParaRPr lang="en-US" altLang="nl-NL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260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3850" y="765175"/>
            <a:ext cx="8229600" cy="647700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fr-BE" dirty="0" err="1" smtClean="0"/>
              <a:t>Pregnant</a:t>
            </a:r>
            <a:r>
              <a:rPr lang="fr-BE" dirty="0" smtClean="0"/>
              <a:t> </a:t>
            </a:r>
            <a:r>
              <a:rPr lang="fr-BE" dirty="0" err="1" smtClean="0"/>
              <a:t>woman</a:t>
            </a:r>
            <a:r>
              <a:rPr lang="fr-BE" dirty="0" smtClean="0"/>
              <a:t> (1)</a:t>
            </a:r>
            <a:endParaRPr lang="fr-BE" dirty="0"/>
          </a:p>
        </p:txBody>
      </p:sp>
      <p:sp>
        <p:nvSpPr>
          <p:cNvPr id="25603" name="Espace réservé du contenu 2"/>
          <p:cNvSpPr>
            <a:spLocks noGrp="1"/>
          </p:cNvSpPr>
          <p:nvPr>
            <p:ph idx="1"/>
          </p:nvPr>
        </p:nvSpPr>
        <p:spPr>
          <a:xfrm>
            <a:off x="251520" y="1773238"/>
            <a:ext cx="8712968" cy="5084762"/>
          </a:xfrm>
        </p:spPr>
        <p:txBody>
          <a:bodyPr/>
          <a:lstStyle/>
          <a:p>
            <a:pPr eaLnBrk="1" hangingPunct="1"/>
            <a:r>
              <a:rPr lang="fr-BE" dirty="0" smtClean="0"/>
              <a:t>2009 H1N1 </a:t>
            </a:r>
            <a:r>
              <a:rPr lang="fr-BE" dirty="0" err="1" smtClean="0"/>
              <a:t>pandemic</a:t>
            </a:r>
            <a:r>
              <a:rPr lang="fr-BE" dirty="0" smtClean="0"/>
              <a:t> </a:t>
            </a:r>
            <a:r>
              <a:rPr lang="fr-BE" dirty="0" err="1" smtClean="0"/>
              <a:t>flu</a:t>
            </a:r>
            <a:r>
              <a:rPr lang="fr-BE" dirty="0" smtClean="0"/>
              <a:t> :</a:t>
            </a:r>
            <a:r>
              <a:rPr lang="fr-BE" b="1" dirty="0" err="1" smtClean="0">
                <a:solidFill>
                  <a:schemeClr val="tx2"/>
                </a:solidFill>
              </a:rPr>
              <a:t>pregnant</a:t>
            </a:r>
            <a:r>
              <a:rPr lang="fr-BE" b="1" dirty="0" smtClean="0">
                <a:solidFill>
                  <a:schemeClr val="tx2"/>
                </a:solidFill>
              </a:rPr>
              <a:t> </a:t>
            </a:r>
            <a:r>
              <a:rPr lang="fr-BE" b="1" dirty="0" err="1" smtClean="0">
                <a:solidFill>
                  <a:schemeClr val="tx2"/>
                </a:solidFill>
              </a:rPr>
              <a:t>woman</a:t>
            </a:r>
            <a:endParaRPr lang="fr-BE" b="1" dirty="0" smtClean="0">
              <a:solidFill>
                <a:schemeClr val="tx2"/>
              </a:solidFill>
            </a:endParaRPr>
          </a:p>
          <a:p>
            <a:pPr lvl="1" eaLnBrk="1" hangingPunct="1"/>
            <a:r>
              <a:rPr lang="en-US" dirty="0" smtClean="0">
                <a:solidFill>
                  <a:schemeClr val="tx2"/>
                </a:solidFill>
              </a:rPr>
              <a:t>1 - 2% of total population</a:t>
            </a:r>
          </a:p>
          <a:p>
            <a:pPr lvl="1" eaLnBrk="1" hangingPunct="1"/>
            <a:r>
              <a:rPr lang="en-US" dirty="0" smtClean="0"/>
              <a:t>7 - 10 % of hospitalized H1N1 patients</a:t>
            </a:r>
          </a:p>
          <a:p>
            <a:pPr lvl="1" eaLnBrk="1" hangingPunct="1"/>
            <a:r>
              <a:rPr lang="en-US" b="1" dirty="0" smtClean="0">
                <a:solidFill>
                  <a:schemeClr val="tx2"/>
                </a:solidFill>
              </a:rPr>
              <a:t>6 - 9% of H1N1 ICU  cases</a:t>
            </a:r>
          </a:p>
          <a:p>
            <a:pPr lvl="1" eaLnBrk="1" hangingPunct="1"/>
            <a:r>
              <a:rPr lang="en-US" b="1" dirty="0" smtClean="0">
                <a:solidFill>
                  <a:schemeClr val="tx2"/>
                </a:solidFill>
              </a:rPr>
              <a:t>6 - 10% of H1N1 related deaths</a:t>
            </a:r>
          </a:p>
          <a:p>
            <a:pPr lvl="1" eaLnBrk="1" hangingPunct="1">
              <a:buNone/>
            </a:pPr>
            <a:r>
              <a:rPr lang="en-US" b="1" i="1" dirty="0" smtClean="0"/>
              <a:t>   </a:t>
            </a:r>
            <a:endParaRPr lang="en-US" dirty="0" smtClean="0"/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dirty="0" smtClean="0"/>
              <a:t>Already the same during previous pandemics as  1918 and 1957</a:t>
            </a:r>
          </a:p>
          <a:p>
            <a:pPr eaLnBrk="1" hangingPunct="1"/>
            <a:endParaRPr lang="fr-BE" dirty="0" smtClean="0"/>
          </a:p>
        </p:txBody>
      </p:sp>
      <p:sp>
        <p:nvSpPr>
          <p:cNvPr id="4" name="Rectangle 3"/>
          <p:cNvSpPr/>
          <p:nvPr/>
        </p:nvSpPr>
        <p:spPr>
          <a:xfrm>
            <a:off x="4140200" y="4509119"/>
            <a:ext cx="3219450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BE" i="1" dirty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N </a:t>
            </a:r>
            <a:r>
              <a:rPr lang="fr-BE" i="1" dirty="0" err="1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Engl</a:t>
            </a:r>
            <a:r>
              <a:rPr lang="fr-BE" i="1" dirty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J Med 2010;362:1708-19</a:t>
            </a:r>
            <a:r>
              <a:rPr lang="fr-BE" dirty="0">
                <a:latin typeface="Times New Roman" pitchFamily="18" charset="0"/>
                <a:cs typeface="+mn-cs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0188" y="620713"/>
            <a:ext cx="8229600" cy="1066800"/>
          </a:xfrm>
        </p:spPr>
        <p:txBody>
          <a:bodyPr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fr-BE" dirty="0" err="1" smtClean="0"/>
              <a:t>Pregnant</a:t>
            </a:r>
            <a:r>
              <a:rPr lang="fr-BE" dirty="0" smtClean="0"/>
              <a:t> </a:t>
            </a:r>
            <a:r>
              <a:rPr lang="fr-BE" dirty="0" err="1" smtClean="0"/>
              <a:t>woman</a:t>
            </a:r>
            <a:r>
              <a:rPr lang="fr-BE" dirty="0" smtClean="0"/>
              <a:t>: </a:t>
            </a:r>
            <a:r>
              <a:rPr lang="fr-BE" dirty="0" err="1" smtClean="0"/>
              <a:t>when</a:t>
            </a:r>
            <a:r>
              <a:rPr lang="fr-BE" dirty="0" smtClean="0"/>
              <a:t>? (2)</a:t>
            </a:r>
            <a:endParaRPr lang="fr-BE" dirty="0"/>
          </a:p>
        </p:txBody>
      </p:sp>
      <p:sp>
        <p:nvSpPr>
          <p:cNvPr id="26627" name="Espace réservé du contenu 2"/>
          <p:cNvSpPr>
            <a:spLocks noGrp="1"/>
          </p:cNvSpPr>
          <p:nvPr>
            <p:ph idx="1"/>
          </p:nvPr>
        </p:nvSpPr>
        <p:spPr>
          <a:xfrm>
            <a:off x="395288" y="1844674"/>
            <a:ext cx="8229600" cy="5013326"/>
          </a:xfrm>
        </p:spPr>
        <p:txBody>
          <a:bodyPr/>
          <a:lstStyle/>
          <a:p>
            <a:pPr eaLnBrk="1" hangingPunct="1"/>
            <a:r>
              <a:rPr lang="en-US" sz="2400" dirty="0" smtClean="0"/>
              <a:t>Nested case control study</a:t>
            </a:r>
          </a:p>
          <a:p>
            <a:pPr eaLnBrk="1" hangingPunct="1"/>
            <a:r>
              <a:rPr lang="en-US" sz="2400" dirty="0" smtClean="0"/>
              <a:t>4.369 pregnant women 15-44 Y old </a:t>
            </a:r>
            <a:r>
              <a:rPr lang="en-US" sz="2400" dirty="0" smtClean="0">
                <a:latin typeface="Vrinda"/>
                <a:cs typeface="Vrinda"/>
              </a:rPr>
              <a:t>&gt;&lt;</a:t>
            </a:r>
            <a:r>
              <a:rPr lang="en-US" sz="2400" dirty="0" smtClean="0"/>
              <a:t>  21.845 controls</a:t>
            </a:r>
            <a:br>
              <a:rPr lang="en-US" sz="2400" dirty="0" smtClean="0"/>
            </a:br>
            <a:endParaRPr lang="en-US" sz="2400" dirty="0" smtClean="0"/>
          </a:p>
          <a:p>
            <a:pPr eaLnBrk="1" hangingPunct="1"/>
            <a:r>
              <a:rPr lang="en-US" sz="2400" b="1" dirty="0" smtClean="0"/>
              <a:t>Hospitalization risk</a:t>
            </a:r>
            <a:r>
              <a:rPr lang="en-US" sz="2400" dirty="0" smtClean="0"/>
              <a:t>(&lt; pneumonia, influenza, 		cardiopulmonary reasons) 						or death during flu season</a:t>
            </a:r>
          </a:p>
          <a:p>
            <a:pPr lvl="1" eaLnBrk="1" hangingPunct="1"/>
            <a:r>
              <a:rPr lang="en-US" sz="2800" dirty="0" smtClean="0"/>
              <a:t>Post partum				1</a:t>
            </a:r>
          </a:p>
          <a:p>
            <a:pPr lvl="1" eaLnBrk="1" hangingPunct="1"/>
            <a:r>
              <a:rPr lang="en-US" sz="2800" dirty="0" smtClean="0"/>
              <a:t>14-20 w pregnancy		1.44</a:t>
            </a:r>
          </a:p>
          <a:p>
            <a:pPr lvl="1" eaLnBrk="1" hangingPunct="1"/>
            <a:r>
              <a:rPr lang="en-US" sz="2800" b="1" dirty="0" smtClean="0">
                <a:solidFill>
                  <a:schemeClr val="tx2"/>
                </a:solidFill>
              </a:rPr>
              <a:t>37-42 w pregnancy		4.67</a:t>
            </a:r>
          </a:p>
          <a:p>
            <a:pPr eaLnBrk="1" hangingPunct="1"/>
            <a:endParaRPr lang="fr-BE" dirty="0" smtClean="0"/>
          </a:p>
        </p:txBody>
      </p:sp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4284663" y="6309320"/>
            <a:ext cx="4572000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fr-BE" i="1" dirty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+mn-cs"/>
              </a:rPr>
              <a:t>Am J </a:t>
            </a:r>
            <a:r>
              <a:rPr lang="fr-BE" i="1" dirty="0" err="1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+mn-cs"/>
              </a:rPr>
              <a:t>Epidemiology</a:t>
            </a:r>
            <a:r>
              <a:rPr lang="fr-BE" i="1" dirty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+mn-cs"/>
              </a:rPr>
              <a:t> 1998; 148:1094</a:t>
            </a:r>
            <a:endParaRPr lang="fr-FR" i="1" dirty="0">
              <a:solidFill>
                <a:schemeClr val="accent2">
                  <a:lumMod val="75000"/>
                </a:schemeClr>
              </a:solidFill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re 1"/>
          <p:cNvSpPr>
            <a:spLocks noGrp="1"/>
          </p:cNvSpPr>
          <p:nvPr>
            <p:ph type="title"/>
          </p:nvPr>
        </p:nvSpPr>
        <p:spPr>
          <a:xfrm>
            <a:off x="457200" y="1"/>
            <a:ext cx="8229600" cy="1052735"/>
          </a:xfrm>
        </p:spPr>
        <p:txBody>
          <a:bodyPr/>
          <a:lstStyle/>
          <a:p>
            <a:r>
              <a:rPr lang="fr-BE" b="1" dirty="0" smtClean="0"/>
              <a:t>And the pregnant </a:t>
            </a:r>
            <a:r>
              <a:rPr lang="fr-BE" b="1" dirty="0" err="1" smtClean="0"/>
              <a:t>woman</a:t>
            </a:r>
            <a:endParaRPr lang="fr-BE" b="1" dirty="0" smtClean="0"/>
          </a:p>
        </p:txBody>
      </p:sp>
      <p:sp>
        <p:nvSpPr>
          <p:cNvPr id="46083" name="Espace réservé du contenu 2"/>
          <p:cNvSpPr>
            <a:spLocks noGrp="1"/>
          </p:cNvSpPr>
          <p:nvPr>
            <p:ph idx="1"/>
          </p:nvPr>
        </p:nvSpPr>
        <p:spPr>
          <a:xfrm>
            <a:off x="685800" y="1052737"/>
            <a:ext cx="7772400" cy="5616624"/>
          </a:xfrm>
        </p:spPr>
        <p:txBody>
          <a:bodyPr/>
          <a:lstStyle/>
          <a:p>
            <a:endParaRPr lang="fr-BE" dirty="0" smtClean="0"/>
          </a:p>
          <a:p>
            <a:r>
              <a:rPr lang="fr-BE" dirty="0" smtClean="0"/>
              <a:t>(</a:t>
            </a:r>
            <a:r>
              <a:rPr lang="fr-BE" dirty="0" err="1" smtClean="0"/>
              <a:t>Nearly</a:t>
            </a:r>
            <a:r>
              <a:rPr lang="fr-BE" dirty="0" smtClean="0"/>
              <a:t>) </a:t>
            </a:r>
            <a:r>
              <a:rPr lang="fr-BE" dirty="0" err="1" smtClean="0"/>
              <a:t>same</a:t>
            </a:r>
            <a:r>
              <a:rPr lang="fr-BE" dirty="0" smtClean="0"/>
              <a:t> </a:t>
            </a:r>
            <a:r>
              <a:rPr lang="fr-BE" dirty="0" err="1" smtClean="0"/>
              <a:t>immunological</a:t>
            </a:r>
            <a:r>
              <a:rPr lang="fr-BE" dirty="0" smtClean="0"/>
              <a:t> </a:t>
            </a:r>
            <a:r>
              <a:rPr lang="fr-BE" dirty="0" err="1" smtClean="0"/>
              <a:t>answer</a:t>
            </a:r>
            <a:r>
              <a:rPr lang="fr-BE" dirty="0" smtClean="0"/>
              <a:t> to </a:t>
            </a:r>
            <a:r>
              <a:rPr lang="fr-BE" dirty="0" err="1" smtClean="0"/>
              <a:t>several</a:t>
            </a:r>
            <a:r>
              <a:rPr lang="fr-BE" dirty="0" smtClean="0"/>
              <a:t> </a:t>
            </a:r>
            <a:r>
              <a:rPr lang="fr-BE" dirty="0" err="1" smtClean="0"/>
              <a:t>other</a:t>
            </a:r>
            <a:r>
              <a:rPr lang="fr-BE" dirty="0" smtClean="0"/>
              <a:t> vaccines			 (</a:t>
            </a:r>
            <a:r>
              <a:rPr lang="fr-BE" dirty="0" err="1" smtClean="0"/>
              <a:t>tetanos</a:t>
            </a:r>
            <a:r>
              <a:rPr lang="fr-BE" dirty="0" smtClean="0"/>
              <a:t> ,</a:t>
            </a:r>
            <a:r>
              <a:rPr lang="fr-BE" dirty="0" err="1" smtClean="0"/>
              <a:t>pertussis</a:t>
            </a:r>
            <a:r>
              <a:rPr lang="fr-BE" dirty="0" smtClean="0"/>
              <a:t>, hep A,…)</a:t>
            </a:r>
          </a:p>
          <a:p>
            <a:endParaRPr lang="fr-BE" dirty="0" smtClean="0"/>
          </a:p>
          <a:p>
            <a:r>
              <a:rPr lang="fr-BE" dirty="0" smtClean="0"/>
              <a:t>No </a:t>
            </a:r>
            <a:r>
              <a:rPr lang="fr-BE" dirty="0" err="1" smtClean="0"/>
              <a:t>demonstrated</a:t>
            </a:r>
            <a:r>
              <a:rPr lang="fr-BE" dirty="0" smtClean="0"/>
              <a:t> fœtal </a:t>
            </a:r>
            <a:r>
              <a:rPr lang="fr-BE" dirty="0" err="1" smtClean="0"/>
              <a:t>side</a:t>
            </a:r>
            <a:r>
              <a:rPr lang="fr-BE" dirty="0" smtClean="0"/>
              <a:t> </a:t>
            </a:r>
            <a:r>
              <a:rPr lang="fr-BE" dirty="0" err="1" smtClean="0"/>
              <a:t>effect</a:t>
            </a:r>
            <a:r>
              <a:rPr lang="fr-BE" dirty="0" smtClean="0"/>
              <a:t> of 	</a:t>
            </a:r>
            <a:r>
              <a:rPr lang="fr-BE" dirty="0" err="1" smtClean="0"/>
              <a:t>inactivated</a:t>
            </a:r>
            <a:r>
              <a:rPr lang="fr-BE" dirty="0" smtClean="0"/>
              <a:t> vaccines 				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188914"/>
            <a:ext cx="7772400" cy="1143000"/>
          </a:xfrm>
        </p:spPr>
        <p:txBody>
          <a:bodyPr/>
          <a:lstStyle/>
          <a:p>
            <a:r>
              <a:rPr lang="en-GB" sz="2400" b="1" dirty="0" smtClean="0"/>
              <a:t>Cumulative Cases of Laboratory-Proven </a:t>
            </a:r>
            <a:r>
              <a:rPr lang="en-GB" sz="2400" b="1" dirty="0" smtClean="0">
                <a:solidFill>
                  <a:srgbClr val="FF0000"/>
                </a:solidFill>
              </a:rPr>
              <a:t>Influenza in Infants Whose Mothers Received Influenza Vaccine</a:t>
            </a:r>
            <a:r>
              <a:rPr lang="en-GB" sz="2400" b="1" dirty="0" smtClean="0"/>
              <a:t>, as Compared with Control Subjects</a:t>
            </a:r>
            <a:endParaRPr lang="fr-FR" sz="2400" b="1" dirty="0" smtClean="0"/>
          </a:p>
        </p:txBody>
      </p:sp>
      <p:pic>
        <p:nvPicPr>
          <p:cNvPr id="28675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87450" y="1412875"/>
            <a:ext cx="6624638" cy="47228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28676" name="Text Box 5"/>
          <p:cNvSpPr txBox="1">
            <a:spLocks noChangeArrowheads="1"/>
          </p:cNvSpPr>
          <p:nvPr/>
        </p:nvSpPr>
        <p:spPr bwMode="auto">
          <a:xfrm>
            <a:off x="971551" y="6308725"/>
            <a:ext cx="7286625" cy="1793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 defTabSz="457200" hangingPunct="0">
              <a:lnSpc>
                <a:spcPct val="98000"/>
              </a:lnSpc>
              <a:buClr>
                <a:srgbClr val="FFFFFF"/>
              </a:buClr>
              <a:buSzPct val="45000"/>
              <a:buFont typeface="Wingdings" pitchFamily="2" charset="2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</a:pPr>
            <a:r>
              <a:rPr lang="en-GB" sz="1200" b="1">
                <a:solidFill>
                  <a:srgbClr val="FFFFFF"/>
                </a:solidFill>
                <a:ea typeface="Lucida Sans Unicode" pitchFamily="34" charset="0"/>
                <a:cs typeface="Lucida Sans Unicode" pitchFamily="34" charset="0"/>
              </a:rPr>
              <a:t>Zaman K et al. N Engl J Med 2008;359:1555-1564</a:t>
            </a:r>
          </a:p>
        </p:txBody>
      </p:sp>
      <p:pic>
        <p:nvPicPr>
          <p:cNvPr id="28677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56329" y="6308725"/>
            <a:ext cx="2898775" cy="4841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29605" t="39000" r="36082" b="11782"/>
          <a:stretch>
            <a:fillRect/>
          </a:stretch>
        </p:blipFill>
        <p:spPr bwMode="auto">
          <a:xfrm>
            <a:off x="899592" y="404664"/>
            <a:ext cx="7416824" cy="5981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Rectangle 67"/>
          <p:cNvSpPr/>
          <p:nvPr/>
        </p:nvSpPr>
        <p:spPr>
          <a:xfrm>
            <a:off x="484594" y="5098038"/>
            <a:ext cx="8316468" cy="114885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GB" kern="0">
              <a:solidFill>
                <a:prstClr val="white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48017" y="1"/>
            <a:ext cx="7696199" cy="1209524"/>
          </a:xfrm>
        </p:spPr>
        <p:txBody>
          <a:bodyPr>
            <a:normAutofit/>
          </a:bodyPr>
          <a:lstStyle/>
          <a:p>
            <a:r>
              <a:rPr lang="en-GB" dirty="0" smtClean="0"/>
              <a:t>Flu viruses and vaccines</a:t>
            </a:r>
            <a:endParaRPr lang="en-GB" dirty="0"/>
          </a:p>
        </p:txBody>
      </p:sp>
      <p:sp>
        <p:nvSpPr>
          <p:cNvPr id="434" name="Slide Number Placeholder 2"/>
          <p:cNvSpPr txBox="1">
            <a:spLocks/>
          </p:cNvSpPr>
          <p:nvPr/>
        </p:nvSpPr>
        <p:spPr>
          <a:xfrm>
            <a:off x="7620000" y="18288"/>
            <a:ext cx="1066800" cy="329184"/>
          </a:xfrm>
          <a:prstGeom prst="rect">
            <a:avLst/>
          </a:prstGeom>
        </p:spPr>
        <p:txBody>
          <a:bodyPr/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ECC39A2-64FC-4ACE-9FE9-FA7540CB3153}" type="slidenum">
              <a:rPr lang="es-MX" sz="1400" b="1" smtClean="0">
                <a:solidFill>
                  <a:srgbClr val="FFFFFF"/>
                </a:solidFill>
              </a:rPr>
              <a:pPr/>
              <a:t>25</a:t>
            </a:fld>
            <a:endParaRPr lang="es-MX" sz="1400" b="1" dirty="0">
              <a:solidFill>
                <a:srgbClr val="FFFFFF"/>
              </a:solidFill>
            </a:endParaRPr>
          </a:p>
        </p:txBody>
      </p:sp>
      <p:grpSp>
        <p:nvGrpSpPr>
          <p:cNvPr id="2" name="Group 24"/>
          <p:cNvGrpSpPr/>
          <p:nvPr/>
        </p:nvGrpSpPr>
        <p:grpSpPr>
          <a:xfrm>
            <a:off x="334245" y="1228089"/>
            <a:ext cx="8471820" cy="5018798"/>
            <a:chOff x="365604" y="881149"/>
            <a:chExt cx="8471820" cy="5018798"/>
          </a:xfrm>
        </p:grpSpPr>
        <p:sp>
          <p:nvSpPr>
            <p:cNvPr id="26" name="Rectangle 149"/>
            <p:cNvSpPr/>
            <p:nvPr/>
          </p:nvSpPr>
          <p:spPr>
            <a:xfrm>
              <a:off x="2706808" y="2957374"/>
              <a:ext cx="6130616" cy="1557625"/>
            </a:xfrm>
            <a:custGeom>
              <a:avLst/>
              <a:gdLst>
                <a:gd name="connsiteX0" fmla="*/ 4326876 w 6254771"/>
                <a:gd name="connsiteY0" fmla="*/ 0 h 1554680"/>
                <a:gd name="connsiteX1" fmla="*/ 4331539 w 6254771"/>
                <a:gd name="connsiteY1" fmla="*/ 5135 h 1554680"/>
                <a:gd name="connsiteX2" fmla="*/ 4331538 w 6254771"/>
                <a:gd name="connsiteY2" fmla="*/ 1714 h 1554680"/>
                <a:gd name="connsiteX3" fmla="*/ 6054152 w 6254771"/>
                <a:gd name="connsiteY3" fmla="*/ 1714 h 1554680"/>
                <a:gd name="connsiteX4" fmla="*/ 6054152 w 6254771"/>
                <a:gd name="connsiteY4" fmla="*/ 1769 h 1554680"/>
                <a:gd name="connsiteX5" fmla="*/ 6254771 w 6254771"/>
                <a:gd name="connsiteY5" fmla="*/ 1769 h 1554680"/>
                <a:gd name="connsiteX6" fmla="*/ 6254771 w 6254771"/>
                <a:gd name="connsiteY6" fmla="*/ 355806 h 1554680"/>
                <a:gd name="connsiteX7" fmla="*/ 6054152 w 6254771"/>
                <a:gd name="connsiteY7" fmla="*/ 355806 h 1554680"/>
                <a:gd name="connsiteX8" fmla="*/ 6054152 w 6254771"/>
                <a:gd name="connsiteY8" fmla="*/ 361572 h 1554680"/>
                <a:gd name="connsiteX9" fmla="*/ 4463986 w 6254771"/>
                <a:gd name="connsiteY9" fmla="*/ 361572 h 1554680"/>
                <a:gd name="connsiteX10" fmla="*/ 4028870 w 6254771"/>
                <a:gd name="connsiteY10" fmla="*/ 756648 h 1554680"/>
                <a:gd name="connsiteX11" fmla="*/ 4467000 w 6254771"/>
                <a:gd name="connsiteY11" fmla="*/ 1194821 h 1554680"/>
                <a:gd name="connsiteX12" fmla="*/ 5406820 w 6254771"/>
                <a:gd name="connsiteY12" fmla="*/ 1194821 h 1554680"/>
                <a:gd name="connsiteX13" fmla="*/ 5406820 w 6254771"/>
                <a:gd name="connsiteY13" fmla="*/ 1193069 h 1554680"/>
                <a:gd name="connsiteX14" fmla="*/ 6250752 w 6254771"/>
                <a:gd name="connsiteY14" fmla="*/ 1193069 h 1554680"/>
                <a:gd name="connsiteX15" fmla="*/ 6250752 w 6254771"/>
                <a:gd name="connsiteY15" fmla="*/ 1552927 h 1554680"/>
                <a:gd name="connsiteX16" fmla="*/ 6025369 w 6254771"/>
                <a:gd name="connsiteY16" fmla="*/ 1552927 h 1554680"/>
                <a:gd name="connsiteX17" fmla="*/ 6025369 w 6254771"/>
                <a:gd name="connsiteY17" fmla="*/ 1554680 h 1554680"/>
                <a:gd name="connsiteX18" fmla="*/ 4328482 w 6254771"/>
                <a:gd name="connsiteY18" fmla="*/ 1554680 h 1554680"/>
                <a:gd name="connsiteX19" fmla="*/ 4328482 w 6254771"/>
                <a:gd name="connsiteY19" fmla="*/ 1539924 h 1554680"/>
                <a:gd name="connsiteX20" fmla="*/ 4315828 w 6254771"/>
                <a:gd name="connsiteY20" fmla="*/ 1552576 h 1554680"/>
                <a:gd name="connsiteX21" fmla="*/ 3697357 w 6254771"/>
                <a:gd name="connsiteY21" fmla="*/ 934042 h 1554680"/>
                <a:gd name="connsiteX22" fmla="*/ 3700732 w 6254771"/>
                <a:gd name="connsiteY22" fmla="*/ 930666 h 1554680"/>
                <a:gd name="connsiteX23" fmla="*/ 1104289 w 6254771"/>
                <a:gd name="connsiteY23" fmla="*/ 930536 h 1554680"/>
                <a:gd name="connsiteX24" fmla="*/ 1104289 w 6254771"/>
                <a:gd name="connsiteY24" fmla="*/ 932433 h 1554680"/>
                <a:gd name="connsiteX25" fmla="*/ 0 w 6254771"/>
                <a:gd name="connsiteY25" fmla="*/ 572575 h 1554680"/>
                <a:gd name="connsiteX26" fmla="*/ 976392 w 6254771"/>
                <a:gd name="connsiteY26" fmla="*/ 572575 h 1554680"/>
                <a:gd name="connsiteX27" fmla="*/ 976392 w 6254771"/>
                <a:gd name="connsiteY27" fmla="*/ 570670 h 1554680"/>
                <a:gd name="connsiteX28" fmla="*/ 3703551 w 6254771"/>
                <a:gd name="connsiteY28" fmla="*/ 570809 h 1554680"/>
                <a:gd name="connsiteX29" fmla="*/ 3701141 w 6254771"/>
                <a:gd name="connsiteY29" fmla="*/ 568154 h 1554680"/>
                <a:gd name="connsiteX30" fmla="*/ 4326876 w 6254771"/>
                <a:gd name="connsiteY30" fmla="*/ 0 h 1554680"/>
                <a:gd name="connsiteX0" fmla="*/ 3350484 w 5278379"/>
                <a:gd name="connsiteY0" fmla="*/ 0 h 1554680"/>
                <a:gd name="connsiteX1" fmla="*/ 3355147 w 5278379"/>
                <a:gd name="connsiteY1" fmla="*/ 5135 h 1554680"/>
                <a:gd name="connsiteX2" fmla="*/ 3355146 w 5278379"/>
                <a:gd name="connsiteY2" fmla="*/ 1714 h 1554680"/>
                <a:gd name="connsiteX3" fmla="*/ 5077760 w 5278379"/>
                <a:gd name="connsiteY3" fmla="*/ 1714 h 1554680"/>
                <a:gd name="connsiteX4" fmla="*/ 5077760 w 5278379"/>
                <a:gd name="connsiteY4" fmla="*/ 1769 h 1554680"/>
                <a:gd name="connsiteX5" fmla="*/ 5278379 w 5278379"/>
                <a:gd name="connsiteY5" fmla="*/ 1769 h 1554680"/>
                <a:gd name="connsiteX6" fmla="*/ 5278379 w 5278379"/>
                <a:gd name="connsiteY6" fmla="*/ 355806 h 1554680"/>
                <a:gd name="connsiteX7" fmla="*/ 5077760 w 5278379"/>
                <a:gd name="connsiteY7" fmla="*/ 355806 h 1554680"/>
                <a:gd name="connsiteX8" fmla="*/ 5077760 w 5278379"/>
                <a:gd name="connsiteY8" fmla="*/ 361572 h 1554680"/>
                <a:gd name="connsiteX9" fmla="*/ 3487594 w 5278379"/>
                <a:gd name="connsiteY9" fmla="*/ 361572 h 1554680"/>
                <a:gd name="connsiteX10" fmla="*/ 3052478 w 5278379"/>
                <a:gd name="connsiteY10" fmla="*/ 756648 h 1554680"/>
                <a:gd name="connsiteX11" fmla="*/ 3490608 w 5278379"/>
                <a:gd name="connsiteY11" fmla="*/ 1194821 h 1554680"/>
                <a:gd name="connsiteX12" fmla="*/ 4430428 w 5278379"/>
                <a:gd name="connsiteY12" fmla="*/ 1194821 h 1554680"/>
                <a:gd name="connsiteX13" fmla="*/ 4430428 w 5278379"/>
                <a:gd name="connsiteY13" fmla="*/ 1193069 h 1554680"/>
                <a:gd name="connsiteX14" fmla="*/ 5274360 w 5278379"/>
                <a:gd name="connsiteY14" fmla="*/ 1193069 h 1554680"/>
                <a:gd name="connsiteX15" fmla="*/ 5274360 w 5278379"/>
                <a:gd name="connsiteY15" fmla="*/ 1552927 h 1554680"/>
                <a:gd name="connsiteX16" fmla="*/ 5048977 w 5278379"/>
                <a:gd name="connsiteY16" fmla="*/ 1552927 h 1554680"/>
                <a:gd name="connsiteX17" fmla="*/ 5048977 w 5278379"/>
                <a:gd name="connsiteY17" fmla="*/ 1554680 h 1554680"/>
                <a:gd name="connsiteX18" fmla="*/ 3352090 w 5278379"/>
                <a:gd name="connsiteY18" fmla="*/ 1554680 h 1554680"/>
                <a:gd name="connsiteX19" fmla="*/ 3352090 w 5278379"/>
                <a:gd name="connsiteY19" fmla="*/ 1539924 h 1554680"/>
                <a:gd name="connsiteX20" fmla="*/ 3339436 w 5278379"/>
                <a:gd name="connsiteY20" fmla="*/ 1552576 h 1554680"/>
                <a:gd name="connsiteX21" fmla="*/ 2720965 w 5278379"/>
                <a:gd name="connsiteY21" fmla="*/ 934042 h 1554680"/>
                <a:gd name="connsiteX22" fmla="*/ 2724340 w 5278379"/>
                <a:gd name="connsiteY22" fmla="*/ 930666 h 1554680"/>
                <a:gd name="connsiteX23" fmla="*/ 127897 w 5278379"/>
                <a:gd name="connsiteY23" fmla="*/ 930536 h 1554680"/>
                <a:gd name="connsiteX24" fmla="*/ 127897 w 5278379"/>
                <a:gd name="connsiteY24" fmla="*/ 932433 h 1554680"/>
                <a:gd name="connsiteX25" fmla="*/ 0 w 5278379"/>
                <a:gd name="connsiteY25" fmla="*/ 572575 h 1554680"/>
                <a:gd name="connsiteX26" fmla="*/ 0 w 5278379"/>
                <a:gd name="connsiteY26" fmla="*/ 570670 h 1554680"/>
                <a:gd name="connsiteX27" fmla="*/ 2727159 w 5278379"/>
                <a:gd name="connsiteY27" fmla="*/ 570809 h 1554680"/>
                <a:gd name="connsiteX28" fmla="*/ 2724749 w 5278379"/>
                <a:gd name="connsiteY28" fmla="*/ 568154 h 1554680"/>
                <a:gd name="connsiteX29" fmla="*/ 3350484 w 5278379"/>
                <a:gd name="connsiteY29" fmla="*/ 0 h 1554680"/>
                <a:gd name="connsiteX0" fmla="*/ 3350484 w 5278379"/>
                <a:gd name="connsiteY0" fmla="*/ 0 h 1554680"/>
                <a:gd name="connsiteX1" fmla="*/ 3355147 w 5278379"/>
                <a:gd name="connsiteY1" fmla="*/ 5135 h 1554680"/>
                <a:gd name="connsiteX2" fmla="*/ 3355146 w 5278379"/>
                <a:gd name="connsiteY2" fmla="*/ 1714 h 1554680"/>
                <a:gd name="connsiteX3" fmla="*/ 5077760 w 5278379"/>
                <a:gd name="connsiteY3" fmla="*/ 1714 h 1554680"/>
                <a:gd name="connsiteX4" fmla="*/ 5077760 w 5278379"/>
                <a:gd name="connsiteY4" fmla="*/ 1769 h 1554680"/>
                <a:gd name="connsiteX5" fmla="*/ 5278379 w 5278379"/>
                <a:gd name="connsiteY5" fmla="*/ 1769 h 1554680"/>
                <a:gd name="connsiteX6" fmla="*/ 5278379 w 5278379"/>
                <a:gd name="connsiteY6" fmla="*/ 355806 h 1554680"/>
                <a:gd name="connsiteX7" fmla="*/ 5077760 w 5278379"/>
                <a:gd name="connsiteY7" fmla="*/ 355806 h 1554680"/>
                <a:gd name="connsiteX8" fmla="*/ 5077760 w 5278379"/>
                <a:gd name="connsiteY8" fmla="*/ 361572 h 1554680"/>
                <a:gd name="connsiteX9" fmla="*/ 3487594 w 5278379"/>
                <a:gd name="connsiteY9" fmla="*/ 361572 h 1554680"/>
                <a:gd name="connsiteX10" fmla="*/ 3052478 w 5278379"/>
                <a:gd name="connsiteY10" fmla="*/ 756648 h 1554680"/>
                <a:gd name="connsiteX11" fmla="*/ 3490608 w 5278379"/>
                <a:gd name="connsiteY11" fmla="*/ 1194821 h 1554680"/>
                <a:gd name="connsiteX12" fmla="*/ 4430428 w 5278379"/>
                <a:gd name="connsiteY12" fmla="*/ 1194821 h 1554680"/>
                <a:gd name="connsiteX13" fmla="*/ 4430428 w 5278379"/>
                <a:gd name="connsiteY13" fmla="*/ 1193069 h 1554680"/>
                <a:gd name="connsiteX14" fmla="*/ 5274360 w 5278379"/>
                <a:gd name="connsiteY14" fmla="*/ 1193069 h 1554680"/>
                <a:gd name="connsiteX15" fmla="*/ 5274360 w 5278379"/>
                <a:gd name="connsiteY15" fmla="*/ 1552927 h 1554680"/>
                <a:gd name="connsiteX16" fmla="*/ 5048977 w 5278379"/>
                <a:gd name="connsiteY16" fmla="*/ 1552927 h 1554680"/>
                <a:gd name="connsiteX17" fmla="*/ 5048977 w 5278379"/>
                <a:gd name="connsiteY17" fmla="*/ 1554680 h 1554680"/>
                <a:gd name="connsiteX18" fmla="*/ 3352090 w 5278379"/>
                <a:gd name="connsiteY18" fmla="*/ 1554680 h 1554680"/>
                <a:gd name="connsiteX19" fmla="*/ 3352090 w 5278379"/>
                <a:gd name="connsiteY19" fmla="*/ 1539924 h 1554680"/>
                <a:gd name="connsiteX20" fmla="*/ 3339436 w 5278379"/>
                <a:gd name="connsiteY20" fmla="*/ 1552576 h 1554680"/>
                <a:gd name="connsiteX21" fmla="*/ 2720965 w 5278379"/>
                <a:gd name="connsiteY21" fmla="*/ 934042 h 1554680"/>
                <a:gd name="connsiteX22" fmla="*/ 2724340 w 5278379"/>
                <a:gd name="connsiteY22" fmla="*/ 930666 h 1554680"/>
                <a:gd name="connsiteX23" fmla="*/ 127897 w 5278379"/>
                <a:gd name="connsiteY23" fmla="*/ 930536 h 1554680"/>
                <a:gd name="connsiteX24" fmla="*/ 127897 w 5278379"/>
                <a:gd name="connsiteY24" fmla="*/ 932433 h 1554680"/>
                <a:gd name="connsiteX25" fmla="*/ 0 w 5278379"/>
                <a:gd name="connsiteY25" fmla="*/ 572575 h 1554680"/>
                <a:gd name="connsiteX26" fmla="*/ 204840 w 5278379"/>
                <a:gd name="connsiteY26" fmla="*/ 570670 h 1554680"/>
                <a:gd name="connsiteX27" fmla="*/ 2727159 w 5278379"/>
                <a:gd name="connsiteY27" fmla="*/ 570809 h 1554680"/>
                <a:gd name="connsiteX28" fmla="*/ 2724749 w 5278379"/>
                <a:gd name="connsiteY28" fmla="*/ 568154 h 1554680"/>
                <a:gd name="connsiteX29" fmla="*/ 3350484 w 5278379"/>
                <a:gd name="connsiteY29" fmla="*/ 0 h 1554680"/>
                <a:gd name="connsiteX0" fmla="*/ 3350484 w 5278379"/>
                <a:gd name="connsiteY0" fmla="*/ 0 h 1554680"/>
                <a:gd name="connsiteX1" fmla="*/ 3355147 w 5278379"/>
                <a:gd name="connsiteY1" fmla="*/ 5135 h 1554680"/>
                <a:gd name="connsiteX2" fmla="*/ 3355146 w 5278379"/>
                <a:gd name="connsiteY2" fmla="*/ 1714 h 1554680"/>
                <a:gd name="connsiteX3" fmla="*/ 5077760 w 5278379"/>
                <a:gd name="connsiteY3" fmla="*/ 1714 h 1554680"/>
                <a:gd name="connsiteX4" fmla="*/ 5077760 w 5278379"/>
                <a:gd name="connsiteY4" fmla="*/ 1769 h 1554680"/>
                <a:gd name="connsiteX5" fmla="*/ 5278379 w 5278379"/>
                <a:gd name="connsiteY5" fmla="*/ 1769 h 1554680"/>
                <a:gd name="connsiteX6" fmla="*/ 5278379 w 5278379"/>
                <a:gd name="connsiteY6" fmla="*/ 355806 h 1554680"/>
                <a:gd name="connsiteX7" fmla="*/ 5077760 w 5278379"/>
                <a:gd name="connsiteY7" fmla="*/ 355806 h 1554680"/>
                <a:gd name="connsiteX8" fmla="*/ 5077760 w 5278379"/>
                <a:gd name="connsiteY8" fmla="*/ 361572 h 1554680"/>
                <a:gd name="connsiteX9" fmla="*/ 3487594 w 5278379"/>
                <a:gd name="connsiteY9" fmla="*/ 361572 h 1554680"/>
                <a:gd name="connsiteX10" fmla="*/ 3052478 w 5278379"/>
                <a:gd name="connsiteY10" fmla="*/ 756648 h 1554680"/>
                <a:gd name="connsiteX11" fmla="*/ 3490608 w 5278379"/>
                <a:gd name="connsiteY11" fmla="*/ 1194821 h 1554680"/>
                <a:gd name="connsiteX12" fmla="*/ 4430428 w 5278379"/>
                <a:gd name="connsiteY12" fmla="*/ 1194821 h 1554680"/>
                <a:gd name="connsiteX13" fmla="*/ 4430428 w 5278379"/>
                <a:gd name="connsiteY13" fmla="*/ 1193069 h 1554680"/>
                <a:gd name="connsiteX14" fmla="*/ 5274360 w 5278379"/>
                <a:gd name="connsiteY14" fmla="*/ 1193069 h 1554680"/>
                <a:gd name="connsiteX15" fmla="*/ 5274360 w 5278379"/>
                <a:gd name="connsiteY15" fmla="*/ 1552927 h 1554680"/>
                <a:gd name="connsiteX16" fmla="*/ 5048977 w 5278379"/>
                <a:gd name="connsiteY16" fmla="*/ 1552927 h 1554680"/>
                <a:gd name="connsiteX17" fmla="*/ 5048977 w 5278379"/>
                <a:gd name="connsiteY17" fmla="*/ 1554680 h 1554680"/>
                <a:gd name="connsiteX18" fmla="*/ 3352090 w 5278379"/>
                <a:gd name="connsiteY18" fmla="*/ 1554680 h 1554680"/>
                <a:gd name="connsiteX19" fmla="*/ 3352090 w 5278379"/>
                <a:gd name="connsiteY19" fmla="*/ 1539924 h 1554680"/>
                <a:gd name="connsiteX20" fmla="*/ 3339436 w 5278379"/>
                <a:gd name="connsiteY20" fmla="*/ 1552576 h 1554680"/>
                <a:gd name="connsiteX21" fmla="*/ 2720965 w 5278379"/>
                <a:gd name="connsiteY21" fmla="*/ 934042 h 1554680"/>
                <a:gd name="connsiteX22" fmla="*/ 2724340 w 5278379"/>
                <a:gd name="connsiteY22" fmla="*/ 930666 h 1554680"/>
                <a:gd name="connsiteX23" fmla="*/ 127897 w 5278379"/>
                <a:gd name="connsiteY23" fmla="*/ 930536 h 1554680"/>
                <a:gd name="connsiteX24" fmla="*/ 158623 w 5278379"/>
                <a:gd name="connsiteY24" fmla="*/ 956183 h 1554680"/>
                <a:gd name="connsiteX25" fmla="*/ 0 w 5278379"/>
                <a:gd name="connsiteY25" fmla="*/ 572575 h 1554680"/>
                <a:gd name="connsiteX26" fmla="*/ 204840 w 5278379"/>
                <a:gd name="connsiteY26" fmla="*/ 570670 h 1554680"/>
                <a:gd name="connsiteX27" fmla="*/ 2727159 w 5278379"/>
                <a:gd name="connsiteY27" fmla="*/ 570809 h 1554680"/>
                <a:gd name="connsiteX28" fmla="*/ 2724749 w 5278379"/>
                <a:gd name="connsiteY28" fmla="*/ 568154 h 1554680"/>
                <a:gd name="connsiteX29" fmla="*/ 3350484 w 5278379"/>
                <a:gd name="connsiteY29" fmla="*/ 0 h 1554680"/>
                <a:gd name="connsiteX0" fmla="*/ 3222587 w 5150482"/>
                <a:gd name="connsiteY0" fmla="*/ 0 h 1554680"/>
                <a:gd name="connsiteX1" fmla="*/ 3227250 w 5150482"/>
                <a:gd name="connsiteY1" fmla="*/ 5135 h 1554680"/>
                <a:gd name="connsiteX2" fmla="*/ 3227249 w 5150482"/>
                <a:gd name="connsiteY2" fmla="*/ 1714 h 1554680"/>
                <a:gd name="connsiteX3" fmla="*/ 4949863 w 5150482"/>
                <a:gd name="connsiteY3" fmla="*/ 1714 h 1554680"/>
                <a:gd name="connsiteX4" fmla="*/ 4949863 w 5150482"/>
                <a:gd name="connsiteY4" fmla="*/ 1769 h 1554680"/>
                <a:gd name="connsiteX5" fmla="*/ 5150482 w 5150482"/>
                <a:gd name="connsiteY5" fmla="*/ 1769 h 1554680"/>
                <a:gd name="connsiteX6" fmla="*/ 5150482 w 5150482"/>
                <a:gd name="connsiteY6" fmla="*/ 355806 h 1554680"/>
                <a:gd name="connsiteX7" fmla="*/ 4949863 w 5150482"/>
                <a:gd name="connsiteY7" fmla="*/ 355806 h 1554680"/>
                <a:gd name="connsiteX8" fmla="*/ 4949863 w 5150482"/>
                <a:gd name="connsiteY8" fmla="*/ 361572 h 1554680"/>
                <a:gd name="connsiteX9" fmla="*/ 3359697 w 5150482"/>
                <a:gd name="connsiteY9" fmla="*/ 361572 h 1554680"/>
                <a:gd name="connsiteX10" fmla="*/ 2924581 w 5150482"/>
                <a:gd name="connsiteY10" fmla="*/ 756648 h 1554680"/>
                <a:gd name="connsiteX11" fmla="*/ 3362711 w 5150482"/>
                <a:gd name="connsiteY11" fmla="*/ 1194821 h 1554680"/>
                <a:gd name="connsiteX12" fmla="*/ 4302531 w 5150482"/>
                <a:gd name="connsiteY12" fmla="*/ 1194821 h 1554680"/>
                <a:gd name="connsiteX13" fmla="*/ 4302531 w 5150482"/>
                <a:gd name="connsiteY13" fmla="*/ 1193069 h 1554680"/>
                <a:gd name="connsiteX14" fmla="*/ 5146463 w 5150482"/>
                <a:gd name="connsiteY14" fmla="*/ 1193069 h 1554680"/>
                <a:gd name="connsiteX15" fmla="*/ 5146463 w 5150482"/>
                <a:gd name="connsiteY15" fmla="*/ 1552927 h 1554680"/>
                <a:gd name="connsiteX16" fmla="*/ 4921080 w 5150482"/>
                <a:gd name="connsiteY16" fmla="*/ 1552927 h 1554680"/>
                <a:gd name="connsiteX17" fmla="*/ 4921080 w 5150482"/>
                <a:gd name="connsiteY17" fmla="*/ 1554680 h 1554680"/>
                <a:gd name="connsiteX18" fmla="*/ 3224193 w 5150482"/>
                <a:gd name="connsiteY18" fmla="*/ 1554680 h 1554680"/>
                <a:gd name="connsiteX19" fmla="*/ 3224193 w 5150482"/>
                <a:gd name="connsiteY19" fmla="*/ 1539924 h 1554680"/>
                <a:gd name="connsiteX20" fmla="*/ 3211539 w 5150482"/>
                <a:gd name="connsiteY20" fmla="*/ 1552576 h 1554680"/>
                <a:gd name="connsiteX21" fmla="*/ 2593068 w 5150482"/>
                <a:gd name="connsiteY21" fmla="*/ 934042 h 1554680"/>
                <a:gd name="connsiteX22" fmla="*/ 2596443 w 5150482"/>
                <a:gd name="connsiteY22" fmla="*/ 930666 h 1554680"/>
                <a:gd name="connsiteX23" fmla="*/ 0 w 5150482"/>
                <a:gd name="connsiteY23" fmla="*/ 930536 h 1554680"/>
                <a:gd name="connsiteX24" fmla="*/ 30726 w 5150482"/>
                <a:gd name="connsiteY24" fmla="*/ 956183 h 1554680"/>
                <a:gd name="connsiteX25" fmla="*/ 25733 w 5150482"/>
                <a:gd name="connsiteY25" fmla="*/ 584450 h 1554680"/>
                <a:gd name="connsiteX26" fmla="*/ 76943 w 5150482"/>
                <a:gd name="connsiteY26" fmla="*/ 570670 h 1554680"/>
                <a:gd name="connsiteX27" fmla="*/ 2599262 w 5150482"/>
                <a:gd name="connsiteY27" fmla="*/ 570809 h 1554680"/>
                <a:gd name="connsiteX28" fmla="*/ 2596852 w 5150482"/>
                <a:gd name="connsiteY28" fmla="*/ 568154 h 1554680"/>
                <a:gd name="connsiteX29" fmla="*/ 3222587 w 5150482"/>
                <a:gd name="connsiteY29" fmla="*/ 0 h 1554680"/>
                <a:gd name="connsiteX0" fmla="*/ 3196854 w 5124749"/>
                <a:gd name="connsiteY0" fmla="*/ 0 h 1554680"/>
                <a:gd name="connsiteX1" fmla="*/ 3201517 w 5124749"/>
                <a:gd name="connsiteY1" fmla="*/ 5135 h 1554680"/>
                <a:gd name="connsiteX2" fmla="*/ 3201516 w 5124749"/>
                <a:gd name="connsiteY2" fmla="*/ 1714 h 1554680"/>
                <a:gd name="connsiteX3" fmla="*/ 4924130 w 5124749"/>
                <a:gd name="connsiteY3" fmla="*/ 1714 h 1554680"/>
                <a:gd name="connsiteX4" fmla="*/ 4924130 w 5124749"/>
                <a:gd name="connsiteY4" fmla="*/ 1769 h 1554680"/>
                <a:gd name="connsiteX5" fmla="*/ 5124749 w 5124749"/>
                <a:gd name="connsiteY5" fmla="*/ 1769 h 1554680"/>
                <a:gd name="connsiteX6" fmla="*/ 5124749 w 5124749"/>
                <a:gd name="connsiteY6" fmla="*/ 355806 h 1554680"/>
                <a:gd name="connsiteX7" fmla="*/ 4924130 w 5124749"/>
                <a:gd name="connsiteY7" fmla="*/ 355806 h 1554680"/>
                <a:gd name="connsiteX8" fmla="*/ 4924130 w 5124749"/>
                <a:gd name="connsiteY8" fmla="*/ 361572 h 1554680"/>
                <a:gd name="connsiteX9" fmla="*/ 3333964 w 5124749"/>
                <a:gd name="connsiteY9" fmla="*/ 361572 h 1554680"/>
                <a:gd name="connsiteX10" fmla="*/ 2898848 w 5124749"/>
                <a:gd name="connsiteY10" fmla="*/ 756648 h 1554680"/>
                <a:gd name="connsiteX11" fmla="*/ 3336978 w 5124749"/>
                <a:gd name="connsiteY11" fmla="*/ 1194821 h 1554680"/>
                <a:gd name="connsiteX12" fmla="*/ 4276798 w 5124749"/>
                <a:gd name="connsiteY12" fmla="*/ 1194821 h 1554680"/>
                <a:gd name="connsiteX13" fmla="*/ 4276798 w 5124749"/>
                <a:gd name="connsiteY13" fmla="*/ 1193069 h 1554680"/>
                <a:gd name="connsiteX14" fmla="*/ 5120730 w 5124749"/>
                <a:gd name="connsiteY14" fmla="*/ 1193069 h 1554680"/>
                <a:gd name="connsiteX15" fmla="*/ 5120730 w 5124749"/>
                <a:gd name="connsiteY15" fmla="*/ 1552927 h 1554680"/>
                <a:gd name="connsiteX16" fmla="*/ 4895347 w 5124749"/>
                <a:gd name="connsiteY16" fmla="*/ 1552927 h 1554680"/>
                <a:gd name="connsiteX17" fmla="*/ 4895347 w 5124749"/>
                <a:gd name="connsiteY17" fmla="*/ 1554680 h 1554680"/>
                <a:gd name="connsiteX18" fmla="*/ 3198460 w 5124749"/>
                <a:gd name="connsiteY18" fmla="*/ 1554680 h 1554680"/>
                <a:gd name="connsiteX19" fmla="*/ 3198460 w 5124749"/>
                <a:gd name="connsiteY19" fmla="*/ 1539924 h 1554680"/>
                <a:gd name="connsiteX20" fmla="*/ 3185806 w 5124749"/>
                <a:gd name="connsiteY20" fmla="*/ 1552576 h 1554680"/>
                <a:gd name="connsiteX21" fmla="*/ 2567335 w 5124749"/>
                <a:gd name="connsiteY21" fmla="*/ 934042 h 1554680"/>
                <a:gd name="connsiteX22" fmla="*/ 2570710 w 5124749"/>
                <a:gd name="connsiteY22" fmla="*/ 930666 h 1554680"/>
                <a:gd name="connsiteX23" fmla="*/ 4993 w 5124749"/>
                <a:gd name="connsiteY23" fmla="*/ 956183 h 1554680"/>
                <a:gd name="connsiteX24" fmla="*/ 0 w 5124749"/>
                <a:gd name="connsiteY24" fmla="*/ 584450 h 1554680"/>
                <a:gd name="connsiteX25" fmla="*/ 51210 w 5124749"/>
                <a:gd name="connsiteY25" fmla="*/ 570670 h 1554680"/>
                <a:gd name="connsiteX26" fmla="*/ 2573529 w 5124749"/>
                <a:gd name="connsiteY26" fmla="*/ 570809 h 1554680"/>
                <a:gd name="connsiteX27" fmla="*/ 2571119 w 5124749"/>
                <a:gd name="connsiteY27" fmla="*/ 568154 h 1554680"/>
                <a:gd name="connsiteX28" fmla="*/ 3196854 w 5124749"/>
                <a:gd name="connsiteY28" fmla="*/ 0 h 1554680"/>
                <a:gd name="connsiteX0" fmla="*/ 3200920 w 5128815"/>
                <a:gd name="connsiteY0" fmla="*/ 0 h 1554680"/>
                <a:gd name="connsiteX1" fmla="*/ 3205583 w 5128815"/>
                <a:gd name="connsiteY1" fmla="*/ 5135 h 1554680"/>
                <a:gd name="connsiteX2" fmla="*/ 3205582 w 5128815"/>
                <a:gd name="connsiteY2" fmla="*/ 1714 h 1554680"/>
                <a:gd name="connsiteX3" fmla="*/ 4928196 w 5128815"/>
                <a:gd name="connsiteY3" fmla="*/ 1714 h 1554680"/>
                <a:gd name="connsiteX4" fmla="*/ 4928196 w 5128815"/>
                <a:gd name="connsiteY4" fmla="*/ 1769 h 1554680"/>
                <a:gd name="connsiteX5" fmla="*/ 5128815 w 5128815"/>
                <a:gd name="connsiteY5" fmla="*/ 1769 h 1554680"/>
                <a:gd name="connsiteX6" fmla="*/ 5128815 w 5128815"/>
                <a:gd name="connsiteY6" fmla="*/ 355806 h 1554680"/>
                <a:gd name="connsiteX7" fmla="*/ 4928196 w 5128815"/>
                <a:gd name="connsiteY7" fmla="*/ 355806 h 1554680"/>
                <a:gd name="connsiteX8" fmla="*/ 4928196 w 5128815"/>
                <a:gd name="connsiteY8" fmla="*/ 361572 h 1554680"/>
                <a:gd name="connsiteX9" fmla="*/ 3338030 w 5128815"/>
                <a:gd name="connsiteY9" fmla="*/ 361572 h 1554680"/>
                <a:gd name="connsiteX10" fmla="*/ 2902914 w 5128815"/>
                <a:gd name="connsiteY10" fmla="*/ 756648 h 1554680"/>
                <a:gd name="connsiteX11" fmla="*/ 3341044 w 5128815"/>
                <a:gd name="connsiteY11" fmla="*/ 1194821 h 1554680"/>
                <a:gd name="connsiteX12" fmla="*/ 4280864 w 5128815"/>
                <a:gd name="connsiteY12" fmla="*/ 1194821 h 1554680"/>
                <a:gd name="connsiteX13" fmla="*/ 4280864 w 5128815"/>
                <a:gd name="connsiteY13" fmla="*/ 1193069 h 1554680"/>
                <a:gd name="connsiteX14" fmla="*/ 5124796 w 5128815"/>
                <a:gd name="connsiteY14" fmla="*/ 1193069 h 1554680"/>
                <a:gd name="connsiteX15" fmla="*/ 5124796 w 5128815"/>
                <a:gd name="connsiteY15" fmla="*/ 1552927 h 1554680"/>
                <a:gd name="connsiteX16" fmla="*/ 4899413 w 5128815"/>
                <a:gd name="connsiteY16" fmla="*/ 1552927 h 1554680"/>
                <a:gd name="connsiteX17" fmla="*/ 4899413 w 5128815"/>
                <a:gd name="connsiteY17" fmla="*/ 1554680 h 1554680"/>
                <a:gd name="connsiteX18" fmla="*/ 3202526 w 5128815"/>
                <a:gd name="connsiteY18" fmla="*/ 1554680 h 1554680"/>
                <a:gd name="connsiteX19" fmla="*/ 3202526 w 5128815"/>
                <a:gd name="connsiteY19" fmla="*/ 1539924 h 1554680"/>
                <a:gd name="connsiteX20" fmla="*/ 3189872 w 5128815"/>
                <a:gd name="connsiteY20" fmla="*/ 1552576 h 1554680"/>
                <a:gd name="connsiteX21" fmla="*/ 2571401 w 5128815"/>
                <a:gd name="connsiteY21" fmla="*/ 934042 h 1554680"/>
                <a:gd name="connsiteX22" fmla="*/ 2574776 w 5128815"/>
                <a:gd name="connsiteY22" fmla="*/ 930666 h 1554680"/>
                <a:gd name="connsiteX23" fmla="*/ 9059 w 5128815"/>
                <a:gd name="connsiteY23" fmla="*/ 956183 h 1554680"/>
                <a:gd name="connsiteX24" fmla="*/ 0 w 5128815"/>
                <a:gd name="connsiteY24" fmla="*/ 570310 h 1554680"/>
                <a:gd name="connsiteX25" fmla="*/ 55276 w 5128815"/>
                <a:gd name="connsiteY25" fmla="*/ 570670 h 1554680"/>
                <a:gd name="connsiteX26" fmla="*/ 2577595 w 5128815"/>
                <a:gd name="connsiteY26" fmla="*/ 570809 h 1554680"/>
                <a:gd name="connsiteX27" fmla="*/ 2575185 w 5128815"/>
                <a:gd name="connsiteY27" fmla="*/ 568154 h 1554680"/>
                <a:gd name="connsiteX28" fmla="*/ 3200920 w 5128815"/>
                <a:gd name="connsiteY28" fmla="*/ 0 h 1554680"/>
                <a:gd name="connsiteX0" fmla="*/ 3200920 w 5128815"/>
                <a:gd name="connsiteY0" fmla="*/ 0 h 1554680"/>
                <a:gd name="connsiteX1" fmla="*/ 3205583 w 5128815"/>
                <a:gd name="connsiteY1" fmla="*/ 5135 h 1554680"/>
                <a:gd name="connsiteX2" fmla="*/ 3205582 w 5128815"/>
                <a:gd name="connsiteY2" fmla="*/ 1714 h 1554680"/>
                <a:gd name="connsiteX3" fmla="*/ 4928196 w 5128815"/>
                <a:gd name="connsiteY3" fmla="*/ 1714 h 1554680"/>
                <a:gd name="connsiteX4" fmla="*/ 4928196 w 5128815"/>
                <a:gd name="connsiteY4" fmla="*/ 1769 h 1554680"/>
                <a:gd name="connsiteX5" fmla="*/ 5128815 w 5128815"/>
                <a:gd name="connsiteY5" fmla="*/ 1769 h 1554680"/>
                <a:gd name="connsiteX6" fmla="*/ 5128815 w 5128815"/>
                <a:gd name="connsiteY6" fmla="*/ 355806 h 1554680"/>
                <a:gd name="connsiteX7" fmla="*/ 4928196 w 5128815"/>
                <a:gd name="connsiteY7" fmla="*/ 355806 h 1554680"/>
                <a:gd name="connsiteX8" fmla="*/ 4928196 w 5128815"/>
                <a:gd name="connsiteY8" fmla="*/ 361572 h 1554680"/>
                <a:gd name="connsiteX9" fmla="*/ 3338030 w 5128815"/>
                <a:gd name="connsiteY9" fmla="*/ 361572 h 1554680"/>
                <a:gd name="connsiteX10" fmla="*/ 2902914 w 5128815"/>
                <a:gd name="connsiteY10" fmla="*/ 756648 h 1554680"/>
                <a:gd name="connsiteX11" fmla="*/ 3341044 w 5128815"/>
                <a:gd name="connsiteY11" fmla="*/ 1194821 h 1554680"/>
                <a:gd name="connsiteX12" fmla="*/ 4280864 w 5128815"/>
                <a:gd name="connsiteY12" fmla="*/ 1194821 h 1554680"/>
                <a:gd name="connsiteX13" fmla="*/ 4280864 w 5128815"/>
                <a:gd name="connsiteY13" fmla="*/ 1193069 h 1554680"/>
                <a:gd name="connsiteX14" fmla="*/ 5124796 w 5128815"/>
                <a:gd name="connsiteY14" fmla="*/ 1193069 h 1554680"/>
                <a:gd name="connsiteX15" fmla="*/ 5124796 w 5128815"/>
                <a:gd name="connsiteY15" fmla="*/ 1552927 h 1554680"/>
                <a:gd name="connsiteX16" fmla="*/ 4899413 w 5128815"/>
                <a:gd name="connsiteY16" fmla="*/ 1552927 h 1554680"/>
                <a:gd name="connsiteX17" fmla="*/ 4899413 w 5128815"/>
                <a:gd name="connsiteY17" fmla="*/ 1554680 h 1554680"/>
                <a:gd name="connsiteX18" fmla="*/ 3202526 w 5128815"/>
                <a:gd name="connsiteY18" fmla="*/ 1554680 h 1554680"/>
                <a:gd name="connsiteX19" fmla="*/ 3202526 w 5128815"/>
                <a:gd name="connsiteY19" fmla="*/ 1539924 h 1554680"/>
                <a:gd name="connsiteX20" fmla="*/ 3189872 w 5128815"/>
                <a:gd name="connsiteY20" fmla="*/ 1552576 h 1554680"/>
                <a:gd name="connsiteX21" fmla="*/ 2571401 w 5128815"/>
                <a:gd name="connsiteY21" fmla="*/ 934042 h 1554680"/>
                <a:gd name="connsiteX22" fmla="*/ 2574776 w 5128815"/>
                <a:gd name="connsiteY22" fmla="*/ 930666 h 1554680"/>
                <a:gd name="connsiteX23" fmla="*/ 9059 w 5128815"/>
                <a:gd name="connsiteY23" fmla="*/ 956183 h 1554680"/>
                <a:gd name="connsiteX24" fmla="*/ 0 w 5128815"/>
                <a:gd name="connsiteY24" fmla="*/ 570310 h 1554680"/>
                <a:gd name="connsiteX25" fmla="*/ 2577595 w 5128815"/>
                <a:gd name="connsiteY25" fmla="*/ 570809 h 1554680"/>
                <a:gd name="connsiteX26" fmla="*/ 2575185 w 5128815"/>
                <a:gd name="connsiteY26" fmla="*/ 568154 h 1554680"/>
                <a:gd name="connsiteX27" fmla="*/ 3200920 w 5128815"/>
                <a:gd name="connsiteY27" fmla="*/ 0 h 1554680"/>
                <a:gd name="connsiteX0" fmla="*/ 3200920 w 5287400"/>
                <a:gd name="connsiteY0" fmla="*/ 0 h 1554680"/>
                <a:gd name="connsiteX1" fmla="*/ 3205583 w 5287400"/>
                <a:gd name="connsiteY1" fmla="*/ 5135 h 1554680"/>
                <a:gd name="connsiteX2" fmla="*/ 3205582 w 5287400"/>
                <a:gd name="connsiteY2" fmla="*/ 1714 h 1554680"/>
                <a:gd name="connsiteX3" fmla="*/ 4928196 w 5287400"/>
                <a:gd name="connsiteY3" fmla="*/ 1714 h 1554680"/>
                <a:gd name="connsiteX4" fmla="*/ 4928196 w 5287400"/>
                <a:gd name="connsiteY4" fmla="*/ 1769 h 1554680"/>
                <a:gd name="connsiteX5" fmla="*/ 5128815 w 5287400"/>
                <a:gd name="connsiteY5" fmla="*/ 1769 h 1554680"/>
                <a:gd name="connsiteX6" fmla="*/ 5128815 w 5287400"/>
                <a:gd name="connsiteY6" fmla="*/ 355806 h 1554680"/>
                <a:gd name="connsiteX7" fmla="*/ 4928196 w 5287400"/>
                <a:gd name="connsiteY7" fmla="*/ 355806 h 1554680"/>
                <a:gd name="connsiteX8" fmla="*/ 4928196 w 5287400"/>
                <a:gd name="connsiteY8" fmla="*/ 361572 h 1554680"/>
                <a:gd name="connsiteX9" fmla="*/ 3338030 w 5287400"/>
                <a:gd name="connsiteY9" fmla="*/ 361572 h 1554680"/>
                <a:gd name="connsiteX10" fmla="*/ 2902914 w 5287400"/>
                <a:gd name="connsiteY10" fmla="*/ 756648 h 1554680"/>
                <a:gd name="connsiteX11" fmla="*/ 3341044 w 5287400"/>
                <a:gd name="connsiteY11" fmla="*/ 1194821 h 1554680"/>
                <a:gd name="connsiteX12" fmla="*/ 4280864 w 5287400"/>
                <a:gd name="connsiteY12" fmla="*/ 1194821 h 1554680"/>
                <a:gd name="connsiteX13" fmla="*/ 4280864 w 5287400"/>
                <a:gd name="connsiteY13" fmla="*/ 1193069 h 1554680"/>
                <a:gd name="connsiteX14" fmla="*/ 5124796 w 5287400"/>
                <a:gd name="connsiteY14" fmla="*/ 1193069 h 1554680"/>
                <a:gd name="connsiteX15" fmla="*/ 5287400 w 5287400"/>
                <a:gd name="connsiteY15" fmla="*/ 1552927 h 1554680"/>
                <a:gd name="connsiteX16" fmla="*/ 4899413 w 5287400"/>
                <a:gd name="connsiteY16" fmla="*/ 1552927 h 1554680"/>
                <a:gd name="connsiteX17" fmla="*/ 4899413 w 5287400"/>
                <a:gd name="connsiteY17" fmla="*/ 1554680 h 1554680"/>
                <a:gd name="connsiteX18" fmla="*/ 3202526 w 5287400"/>
                <a:gd name="connsiteY18" fmla="*/ 1554680 h 1554680"/>
                <a:gd name="connsiteX19" fmla="*/ 3202526 w 5287400"/>
                <a:gd name="connsiteY19" fmla="*/ 1539924 h 1554680"/>
                <a:gd name="connsiteX20" fmla="*/ 3189872 w 5287400"/>
                <a:gd name="connsiteY20" fmla="*/ 1552576 h 1554680"/>
                <a:gd name="connsiteX21" fmla="*/ 2571401 w 5287400"/>
                <a:gd name="connsiteY21" fmla="*/ 934042 h 1554680"/>
                <a:gd name="connsiteX22" fmla="*/ 2574776 w 5287400"/>
                <a:gd name="connsiteY22" fmla="*/ 930666 h 1554680"/>
                <a:gd name="connsiteX23" fmla="*/ 9059 w 5287400"/>
                <a:gd name="connsiteY23" fmla="*/ 956183 h 1554680"/>
                <a:gd name="connsiteX24" fmla="*/ 0 w 5287400"/>
                <a:gd name="connsiteY24" fmla="*/ 570310 h 1554680"/>
                <a:gd name="connsiteX25" fmla="*/ 2577595 w 5287400"/>
                <a:gd name="connsiteY25" fmla="*/ 570809 h 1554680"/>
                <a:gd name="connsiteX26" fmla="*/ 2575185 w 5287400"/>
                <a:gd name="connsiteY26" fmla="*/ 568154 h 1554680"/>
                <a:gd name="connsiteX27" fmla="*/ 3200920 w 5287400"/>
                <a:gd name="connsiteY27" fmla="*/ 0 h 1554680"/>
                <a:gd name="connsiteX0" fmla="*/ 3200920 w 5295530"/>
                <a:gd name="connsiteY0" fmla="*/ 0 h 1554680"/>
                <a:gd name="connsiteX1" fmla="*/ 3205583 w 5295530"/>
                <a:gd name="connsiteY1" fmla="*/ 5135 h 1554680"/>
                <a:gd name="connsiteX2" fmla="*/ 3205582 w 5295530"/>
                <a:gd name="connsiteY2" fmla="*/ 1714 h 1554680"/>
                <a:gd name="connsiteX3" fmla="*/ 4928196 w 5295530"/>
                <a:gd name="connsiteY3" fmla="*/ 1714 h 1554680"/>
                <a:gd name="connsiteX4" fmla="*/ 4928196 w 5295530"/>
                <a:gd name="connsiteY4" fmla="*/ 1769 h 1554680"/>
                <a:gd name="connsiteX5" fmla="*/ 5128815 w 5295530"/>
                <a:gd name="connsiteY5" fmla="*/ 1769 h 1554680"/>
                <a:gd name="connsiteX6" fmla="*/ 5128815 w 5295530"/>
                <a:gd name="connsiteY6" fmla="*/ 355806 h 1554680"/>
                <a:gd name="connsiteX7" fmla="*/ 4928196 w 5295530"/>
                <a:gd name="connsiteY7" fmla="*/ 355806 h 1554680"/>
                <a:gd name="connsiteX8" fmla="*/ 4928196 w 5295530"/>
                <a:gd name="connsiteY8" fmla="*/ 361572 h 1554680"/>
                <a:gd name="connsiteX9" fmla="*/ 3338030 w 5295530"/>
                <a:gd name="connsiteY9" fmla="*/ 361572 h 1554680"/>
                <a:gd name="connsiteX10" fmla="*/ 2902914 w 5295530"/>
                <a:gd name="connsiteY10" fmla="*/ 756648 h 1554680"/>
                <a:gd name="connsiteX11" fmla="*/ 3341044 w 5295530"/>
                <a:gd name="connsiteY11" fmla="*/ 1194821 h 1554680"/>
                <a:gd name="connsiteX12" fmla="*/ 4280864 w 5295530"/>
                <a:gd name="connsiteY12" fmla="*/ 1194821 h 1554680"/>
                <a:gd name="connsiteX13" fmla="*/ 4280864 w 5295530"/>
                <a:gd name="connsiteY13" fmla="*/ 1193069 h 1554680"/>
                <a:gd name="connsiteX14" fmla="*/ 5295530 w 5295530"/>
                <a:gd name="connsiteY14" fmla="*/ 1183642 h 1554680"/>
                <a:gd name="connsiteX15" fmla="*/ 5287400 w 5295530"/>
                <a:gd name="connsiteY15" fmla="*/ 1552927 h 1554680"/>
                <a:gd name="connsiteX16" fmla="*/ 4899413 w 5295530"/>
                <a:gd name="connsiteY16" fmla="*/ 1552927 h 1554680"/>
                <a:gd name="connsiteX17" fmla="*/ 4899413 w 5295530"/>
                <a:gd name="connsiteY17" fmla="*/ 1554680 h 1554680"/>
                <a:gd name="connsiteX18" fmla="*/ 3202526 w 5295530"/>
                <a:gd name="connsiteY18" fmla="*/ 1554680 h 1554680"/>
                <a:gd name="connsiteX19" fmla="*/ 3202526 w 5295530"/>
                <a:gd name="connsiteY19" fmla="*/ 1539924 h 1554680"/>
                <a:gd name="connsiteX20" fmla="*/ 3189872 w 5295530"/>
                <a:gd name="connsiteY20" fmla="*/ 1552576 h 1554680"/>
                <a:gd name="connsiteX21" fmla="*/ 2571401 w 5295530"/>
                <a:gd name="connsiteY21" fmla="*/ 934042 h 1554680"/>
                <a:gd name="connsiteX22" fmla="*/ 2574776 w 5295530"/>
                <a:gd name="connsiteY22" fmla="*/ 930666 h 1554680"/>
                <a:gd name="connsiteX23" fmla="*/ 9059 w 5295530"/>
                <a:gd name="connsiteY23" fmla="*/ 956183 h 1554680"/>
                <a:gd name="connsiteX24" fmla="*/ 0 w 5295530"/>
                <a:gd name="connsiteY24" fmla="*/ 570310 h 1554680"/>
                <a:gd name="connsiteX25" fmla="*/ 2577595 w 5295530"/>
                <a:gd name="connsiteY25" fmla="*/ 570809 h 1554680"/>
                <a:gd name="connsiteX26" fmla="*/ 2575185 w 5295530"/>
                <a:gd name="connsiteY26" fmla="*/ 568154 h 1554680"/>
                <a:gd name="connsiteX27" fmla="*/ 3200920 w 5295530"/>
                <a:gd name="connsiteY27" fmla="*/ 0 h 1554680"/>
                <a:gd name="connsiteX0" fmla="*/ 3200920 w 5287400"/>
                <a:gd name="connsiteY0" fmla="*/ 0 h 1554680"/>
                <a:gd name="connsiteX1" fmla="*/ 3205583 w 5287400"/>
                <a:gd name="connsiteY1" fmla="*/ 5135 h 1554680"/>
                <a:gd name="connsiteX2" fmla="*/ 3205582 w 5287400"/>
                <a:gd name="connsiteY2" fmla="*/ 1714 h 1554680"/>
                <a:gd name="connsiteX3" fmla="*/ 4928196 w 5287400"/>
                <a:gd name="connsiteY3" fmla="*/ 1714 h 1554680"/>
                <a:gd name="connsiteX4" fmla="*/ 4928196 w 5287400"/>
                <a:gd name="connsiteY4" fmla="*/ 1769 h 1554680"/>
                <a:gd name="connsiteX5" fmla="*/ 5128815 w 5287400"/>
                <a:gd name="connsiteY5" fmla="*/ 1769 h 1554680"/>
                <a:gd name="connsiteX6" fmla="*/ 5128815 w 5287400"/>
                <a:gd name="connsiteY6" fmla="*/ 355806 h 1554680"/>
                <a:gd name="connsiteX7" fmla="*/ 4928196 w 5287400"/>
                <a:gd name="connsiteY7" fmla="*/ 355806 h 1554680"/>
                <a:gd name="connsiteX8" fmla="*/ 4928196 w 5287400"/>
                <a:gd name="connsiteY8" fmla="*/ 361572 h 1554680"/>
                <a:gd name="connsiteX9" fmla="*/ 3338030 w 5287400"/>
                <a:gd name="connsiteY9" fmla="*/ 361572 h 1554680"/>
                <a:gd name="connsiteX10" fmla="*/ 2902914 w 5287400"/>
                <a:gd name="connsiteY10" fmla="*/ 756648 h 1554680"/>
                <a:gd name="connsiteX11" fmla="*/ 3341044 w 5287400"/>
                <a:gd name="connsiteY11" fmla="*/ 1194821 h 1554680"/>
                <a:gd name="connsiteX12" fmla="*/ 4280864 w 5287400"/>
                <a:gd name="connsiteY12" fmla="*/ 1194821 h 1554680"/>
                <a:gd name="connsiteX13" fmla="*/ 4280864 w 5287400"/>
                <a:gd name="connsiteY13" fmla="*/ 1193069 h 1554680"/>
                <a:gd name="connsiteX14" fmla="*/ 5279269 w 5287400"/>
                <a:gd name="connsiteY14" fmla="*/ 1183642 h 1554680"/>
                <a:gd name="connsiteX15" fmla="*/ 5287400 w 5287400"/>
                <a:gd name="connsiteY15" fmla="*/ 1552927 h 1554680"/>
                <a:gd name="connsiteX16" fmla="*/ 4899413 w 5287400"/>
                <a:gd name="connsiteY16" fmla="*/ 1552927 h 1554680"/>
                <a:gd name="connsiteX17" fmla="*/ 4899413 w 5287400"/>
                <a:gd name="connsiteY17" fmla="*/ 1554680 h 1554680"/>
                <a:gd name="connsiteX18" fmla="*/ 3202526 w 5287400"/>
                <a:gd name="connsiteY18" fmla="*/ 1554680 h 1554680"/>
                <a:gd name="connsiteX19" fmla="*/ 3202526 w 5287400"/>
                <a:gd name="connsiteY19" fmla="*/ 1539924 h 1554680"/>
                <a:gd name="connsiteX20" fmla="*/ 3189872 w 5287400"/>
                <a:gd name="connsiteY20" fmla="*/ 1552576 h 1554680"/>
                <a:gd name="connsiteX21" fmla="*/ 2571401 w 5287400"/>
                <a:gd name="connsiteY21" fmla="*/ 934042 h 1554680"/>
                <a:gd name="connsiteX22" fmla="*/ 2574776 w 5287400"/>
                <a:gd name="connsiteY22" fmla="*/ 930666 h 1554680"/>
                <a:gd name="connsiteX23" fmla="*/ 9059 w 5287400"/>
                <a:gd name="connsiteY23" fmla="*/ 956183 h 1554680"/>
                <a:gd name="connsiteX24" fmla="*/ 0 w 5287400"/>
                <a:gd name="connsiteY24" fmla="*/ 570310 h 1554680"/>
                <a:gd name="connsiteX25" fmla="*/ 2577595 w 5287400"/>
                <a:gd name="connsiteY25" fmla="*/ 570809 h 1554680"/>
                <a:gd name="connsiteX26" fmla="*/ 2575185 w 5287400"/>
                <a:gd name="connsiteY26" fmla="*/ 568154 h 1554680"/>
                <a:gd name="connsiteX27" fmla="*/ 3200920 w 5287400"/>
                <a:gd name="connsiteY27" fmla="*/ 0 h 1554680"/>
                <a:gd name="connsiteX0" fmla="*/ 3200920 w 5287400"/>
                <a:gd name="connsiteY0" fmla="*/ 0 h 1554680"/>
                <a:gd name="connsiteX1" fmla="*/ 3205583 w 5287400"/>
                <a:gd name="connsiteY1" fmla="*/ 5135 h 1554680"/>
                <a:gd name="connsiteX2" fmla="*/ 3205582 w 5287400"/>
                <a:gd name="connsiteY2" fmla="*/ 1714 h 1554680"/>
                <a:gd name="connsiteX3" fmla="*/ 4928196 w 5287400"/>
                <a:gd name="connsiteY3" fmla="*/ 1714 h 1554680"/>
                <a:gd name="connsiteX4" fmla="*/ 4928196 w 5287400"/>
                <a:gd name="connsiteY4" fmla="*/ 1769 h 1554680"/>
                <a:gd name="connsiteX5" fmla="*/ 5128815 w 5287400"/>
                <a:gd name="connsiteY5" fmla="*/ 1769 h 1554680"/>
                <a:gd name="connsiteX6" fmla="*/ 5279225 w 5287400"/>
                <a:gd name="connsiteY6" fmla="*/ 360519 h 1554680"/>
                <a:gd name="connsiteX7" fmla="*/ 4928196 w 5287400"/>
                <a:gd name="connsiteY7" fmla="*/ 355806 h 1554680"/>
                <a:gd name="connsiteX8" fmla="*/ 4928196 w 5287400"/>
                <a:gd name="connsiteY8" fmla="*/ 361572 h 1554680"/>
                <a:gd name="connsiteX9" fmla="*/ 3338030 w 5287400"/>
                <a:gd name="connsiteY9" fmla="*/ 361572 h 1554680"/>
                <a:gd name="connsiteX10" fmla="*/ 2902914 w 5287400"/>
                <a:gd name="connsiteY10" fmla="*/ 756648 h 1554680"/>
                <a:gd name="connsiteX11" fmla="*/ 3341044 w 5287400"/>
                <a:gd name="connsiteY11" fmla="*/ 1194821 h 1554680"/>
                <a:gd name="connsiteX12" fmla="*/ 4280864 w 5287400"/>
                <a:gd name="connsiteY12" fmla="*/ 1194821 h 1554680"/>
                <a:gd name="connsiteX13" fmla="*/ 4280864 w 5287400"/>
                <a:gd name="connsiteY13" fmla="*/ 1193069 h 1554680"/>
                <a:gd name="connsiteX14" fmla="*/ 5279269 w 5287400"/>
                <a:gd name="connsiteY14" fmla="*/ 1183642 h 1554680"/>
                <a:gd name="connsiteX15" fmla="*/ 5287400 w 5287400"/>
                <a:gd name="connsiteY15" fmla="*/ 1552927 h 1554680"/>
                <a:gd name="connsiteX16" fmla="*/ 4899413 w 5287400"/>
                <a:gd name="connsiteY16" fmla="*/ 1552927 h 1554680"/>
                <a:gd name="connsiteX17" fmla="*/ 4899413 w 5287400"/>
                <a:gd name="connsiteY17" fmla="*/ 1554680 h 1554680"/>
                <a:gd name="connsiteX18" fmla="*/ 3202526 w 5287400"/>
                <a:gd name="connsiteY18" fmla="*/ 1554680 h 1554680"/>
                <a:gd name="connsiteX19" fmla="*/ 3202526 w 5287400"/>
                <a:gd name="connsiteY19" fmla="*/ 1539924 h 1554680"/>
                <a:gd name="connsiteX20" fmla="*/ 3189872 w 5287400"/>
                <a:gd name="connsiteY20" fmla="*/ 1552576 h 1554680"/>
                <a:gd name="connsiteX21" fmla="*/ 2571401 w 5287400"/>
                <a:gd name="connsiteY21" fmla="*/ 934042 h 1554680"/>
                <a:gd name="connsiteX22" fmla="*/ 2574776 w 5287400"/>
                <a:gd name="connsiteY22" fmla="*/ 930666 h 1554680"/>
                <a:gd name="connsiteX23" fmla="*/ 9059 w 5287400"/>
                <a:gd name="connsiteY23" fmla="*/ 956183 h 1554680"/>
                <a:gd name="connsiteX24" fmla="*/ 0 w 5287400"/>
                <a:gd name="connsiteY24" fmla="*/ 570310 h 1554680"/>
                <a:gd name="connsiteX25" fmla="*/ 2577595 w 5287400"/>
                <a:gd name="connsiteY25" fmla="*/ 570809 h 1554680"/>
                <a:gd name="connsiteX26" fmla="*/ 2575185 w 5287400"/>
                <a:gd name="connsiteY26" fmla="*/ 568154 h 1554680"/>
                <a:gd name="connsiteX27" fmla="*/ 3200920 w 5287400"/>
                <a:gd name="connsiteY27" fmla="*/ 0 h 1554680"/>
                <a:gd name="connsiteX0" fmla="*/ 3200920 w 5287400"/>
                <a:gd name="connsiteY0" fmla="*/ 2945 h 1557625"/>
                <a:gd name="connsiteX1" fmla="*/ 3205583 w 5287400"/>
                <a:gd name="connsiteY1" fmla="*/ 8080 h 1557625"/>
                <a:gd name="connsiteX2" fmla="*/ 3205582 w 5287400"/>
                <a:gd name="connsiteY2" fmla="*/ 4659 h 1557625"/>
                <a:gd name="connsiteX3" fmla="*/ 4928196 w 5287400"/>
                <a:gd name="connsiteY3" fmla="*/ 4659 h 1557625"/>
                <a:gd name="connsiteX4" fmla="*/ 4928196 w 5287400"/>
                <a:gd name="connsiteY4" fmla="*/ 4714 h 1557625"/>
                <a:gd name="connsiteX5" fmla="*/ 5283290 w 5287400"/>
                <a:gd name="connsiteY5" fmla="*/ 0 h 1557625"/>
                <a:gd name="connsiteX6" fmla="*/ 5279225 w 5287400"/>
                <a:gd name="connsiteY6" fmla="*/ 363464 h 1557625"/>
                <a:gd name="connsiteX7" fmla="*/ 4928196 w 5287400"/>
                <a:gd name="connsiteY7" fmla="*/ 358751 h 1557625"/>
                <a:gd name="connsiteX8" fmla="*/ 4928196 w 5287400"/>
                <a:gd name="connsiteY8" fmla="*/ 364517 h 1557625"/>
                <a:gd name="connsiteX9" fmla="*/ 3338030 w 5287400"/>
                <a:gd name="connsiteY9" fmla="*/ 364517 h 1557625"/>
                <a:gd name="connsiteX10" fmla="*/ 2902914 w 5287400"/>
                <a:gd name="connsiteY10" fmla="*/ 759593 h 1557625"/>
                <a:gd name="connsiteX11" fmla="*/ 3341044 w 5287400"/>
                <a:gd name="connsiteY11" fmla="*/ 1197766 h 1557625"/>
                <a:gd name="connsiteX12" fmla="*/ 4280864 w 5287400"/>
                <a:gd name="connsiteY12" fmla="*/ 1197766 h 1557625"/>
                <a:gd name="connsiteX13" fmla="*/ 4280864 w 5287400"/>
                <a:gd name="connsiteY13" fmla="*/ 1196014 h 1557625"/>
                <a:gd name="connsiteX14" fmla="*/ 5279269 w 5287400"/>
                <a:gd name="connsiteY14" fmla="*/ 1186587 h 1557625"/>
                <a:gd name="connsiteX15" fmla="*/ 5287400 w 5287400"/>
                <a:gd name="connsiteY15" fmla="*/ 1555872 h 1557625"/>
                <a:gd name="connsiteX16" fmla="*/ 4899413 w 5287400"/>
                <a:gd name="connsiteY16" fmla="*/ 1555872 h 1557625"/>
                <a:gd name="connsiteX17" fmla="*/ 4899413 w 5287400"/>
                <a:gd name="connsiteY17" fmla="*/ 1557625 h 1557625"/>
                <a:gd name="connsiteX18" fmla="*/ 3202526 w 5287400"/>
                <a:gd name="connsiteY18" fmla="*/ 1557625 h 1557625"/>
                <a:gd name="connsiteX19" fmla="*/ 3202526 w 5287400"/>
                <a:gd name="connsiteY19" fmla="*/ 1542869 h 1557625"/>
                <a:gd name="connsiteX20" fmla="*/ 3189872 w 5287400"/>
                <a:gd name="connsiteY20" fmla="*/ 1555521 h 1557625"/>
                <a:gd name="connsiteX21" fmla="*/ 2571401 w 5287400"/>
                <a:gd name="connsiteY21" fmla="*/ 936987 h 1557625"/>
                <a:gd name="connsiteX22" fmla="*/ 2574776 w 5287400"/>
                <a:gd name="connsiteY22" fmla="*/ 933611 h 1557625"/>
                <a:gd name="connsiteX23" fmla="*/ 9059 w 5287400"/>
                <a:gd name="connsiteY23" fmla="*/ 959128 h 1557625"/>
                <a:gd name="connsiteX24" fmla="*/ 0 w 5287400"/>
                <a:gd name="connsiteY24" fmla="*/ 573255 h 1557625"/>
                <a:gd name="connsiteX25" fmla="*/ 2577595 w 5287400"/>
                <a:gd name="connsiteY25" fmla="*/ 573754 h 1557625"/>
                <a:gd name="connsiteX26" fmla="*/ 2575185 w 5287400"/>
                <a:gd name="connsiteY26" fmla="*/ 571099 h 1557625"/>
                <a:gd name="connsiteX27" fmla="*/ 3200920 w 5287400"/>
                <a:gd name="connsiteY27" fmla="*/ 2945 h 1557625"/>
                <a:gd name="connsiteX0" fmla="*/ 3200920 w 5287400"/>
                <a:gd name="connsiteY0" fmla="*/ 2945 h 1557625"/>
                <a:gd name="connsiteX1" fmla="*/ 3205583 w 5287400"/>
                <a:gd name="connsiteY1" fmla="*/ 8080 h 1557625"/>
                <a:gd name="connsiteX2" fmla="*/ 3205582 w 5287400"/>
                <a:gd name="connsiteY2" fmla="*/ 4659 h 1557625"/>
                <a:gd name="connsiteX3" fmla="*/ 4928196 w 5287400"/>
                <a:gd name="connsiteY3" fmla="*/ 4659 h 1557625"/>
                <a:gd name="connsiteX4" fmla="*/ 4928196 w 5287400"/>
                <a:gd name="connsiteY4" fmla="*/ 4714 h 1557625"/>
                <a:gd name="connsiteX5" fmla="*/ 5283290 w 5287400"/>
                <a:gd name="connsiteY5" fmla="*/ 0 h 1557625"/>
                <a:gd name="connsiteX6" fmla="*/ 5279225 w 5287400"/>
                <a:gd name="connsiteY6" fmla="*/ 363464 h 1557625"/>
                <a:gd name="connsiteX7" fmla="*/ 4928196 w 5287400"/>
                <a:gd name="connsiteY7" fmla="*/ 358751 h 1557625"/>
                <a:gd name="connsiteX8" fmla="*/ 4928196 w 5287400"/>
                <a:gd name="connsiteY8" fmla="*/ 364517 h 1557625"/>
                <a:gd name="connsiteX9" fmla="*/ 3338030 w 5287400"/>
                <a:gd name="connsiteY9" fmla="*/ 364517 h 1557625"/>
                <a:gd name="connsiteX10" fmla="*/ 2902914 w 5287400"/>
                <a:gd name="connsiteY10" fmla="*/ 759593 h 1557625"/>
                <a:gd name="connsiteX11" fmla="*/ 3341044 w 5287400"/>
                <a:gd name="connsiteY11" fmla="*/ 1197766 h 1557625"/>
                <a:gd name="connsiteX12" fmla="*/ 4280864 w 5287400"/>
                <a:gd name="connsiteY12" fmla="*/ 1197766 h 1557625"/>
                <a:gd name="connsiteX13" fmla="*/ 4280864 w 5287400"/>
                <a:gd name="connsiteY13" fmla="*/ 1196014 h 1557625"/>
                <a:gd name="connsiteX14" fmla="*/ 5279269 w 5287400"/>
                <a:gd name="connsiteY14" fmla="*/ 1186587 h 1557625"/>
                <a:gd name="connsiteX15" fmla="*/ 5287400 w 5287400"/>
                <a:gd name="connsiteY15" fmla="*/ 1555872 h 1557625"/>
                <a:gd name="connsiteX16" fmla="*/ 4899413 w 5287400"/>
                <a:gd name="connsiteY16" fmla="*/ 1555872 h 1557625"/>
                <a:gd name="connsiteX17" fmla="*/ 4899413 w 5287400"/>
                <a:gd name="connsiteY17" fmla="*/ 1557625 h 1557625"/>
                <a:gd name="connsiteX18" fmla="*/ 3202526 w 5287400"/>
                <a:gd name="connsiteY18" fmla="*/ 1557625 h 1557625"/>
                <a:gd name="connsiteX19" fmla="*/ 3202526 w 5287400"/>
                <a:gd name="connsiteY19" fmla="*/ 1542869 h 1557625"/>
                <a:gd name="connsiteX20" fmla="*/ 3189872 w 5287400"/>
                <a:gd name="connsiteY20" fmla="*/ 1555521 h 1557625"/>
                <a:gd name="connsiteX21" fmla="*/ 2571401 w 5287400"/>
                <a:gd name="connsiteY21" fmla="*/ 936987 h 1557625"/>
                <a:gd name="connsiteX22" fmla="*/ 2579736 w 5287400"/>
                <a:gd name="connsiteY22" fmla="*/ 945113 h 1557625"/>
                <a:gd name="connsiteX23" fmla="*/ 9059 w 5287400"/>
                <a:gd name="connsiteY23" fmla="*/ 959128 h 1557625"/>
                <a:gd name="connsiteX24" fmla="*/ 0 w 5287400"/>
                <a:gd name="connsiteY24" fmla="*/ 573255 h 1557625"/>
                <a:gd name="connsiteX25" fmla="*/ 2577595 w 5287400"/>
                <a:gd name="connsiteY25" fmla="*/ 573754 h 1557625"/>
                <a:gd name="connsiteX26" fmla="*/ 2575185 w 5287400"/>
                <a:gd name="connsiteY26" fmla="*/ 571099 h 1557625"/>
                <a:gd name="connsiteX27" fmla="*/ 3200920 w 5287400"/>
                <a:gd name="connsiteY27" fmla="*/ 2945 h 155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287400" h="1557625">
                  <a:moveTo>
                    <a:pt x="3200920" y="2945"/>
                  </a:moveTo>
                  <a:lnTo>
                    <a:pt x="3205583" y="8080"/>
                  </a:lnTo>
                  <a:cubicBezTo>
                    <a:pt x="3205583" y="6940"/>
                    <a:pt x="3205582" y="5799"/>
                    <a:pt x="3205582" y="4659"/>
                  </a:cubicBezTo>
                  <a:lnTo>
                    <a:pt x="4928196" y="4659"/>
                  </a:lnTo>
                  <a:lnTo>
                    <a:pt x="4928196" y="4714"/>
                  </a:lnTo>
                  <a:lnTo>
                    <a:pt x="5283290" y="0"/>
                  </a:lnTo>
                  <a:lnTo>
                    <a:pt x="5279225" y="363464"/>
                  </a:lnTo>
                  <a:lnTo>
                    <a:pt x="4928196" y="358751"/>
                  </a:lnTo>
                  <a:lnTo>
                    <a:pt x="4928196" y="364517"/>
                  </a:lnTo>
                  <a:lnTo>
                    <a:pt x="3338030" y="364517"/>
                  </a:lnTo>
                  <a:lnTo>
                    <a:pt x="2902914" y="759593"/>
                  </a:lnTo>
                  <a:lnTo>
                    <a:pt x="3341044" y="1197766"/>
                  </a:lnTo>
                  <a:lnTo>
                    <a:pt x="4280864" y="1197766"/>
                  </a:lnTo>
                  <a:lnTo>
                    <a:pt x="4280864" y="1196014"/>
                  </a:lnTo>
                  <a:lnTo>
                    <a:pt x="5279269" y="1186587"/>
                  </a:lnTo>
                  <a:lnTo>
                    <a:pt x="5287400" y="1555872"/>
                  </a:lnTo>
                  <a:lnTo>
                    <a:pt x="4899413" y="1555872"/>
                  </a:lnTo>
                  <a:lnTo>
                    <a:pt x="4899413" y="1557625"/>
                  </a:lnTo>
                  <a:lnTo>
                    <a:pt x="3202526" y="1557625"/>
                  </a:lnTo>
                  <a:lnTo>
                    <a:pt x="3202526" y="1542869"/>
                  </a:lnTo>
                  <a:lnTo>
                    <a:pt x="3189872" y="1555521"/>
                  </a:lnTo>
                  <a:lnTo>
                    <a:pt x="2571401" y="936987"/>
                  </a:lnTo>
                  <a:lnTo>
                    <a:pt x="2579736" y="945113"/>
                  </a:lnTo>
                  <a:lnTo>
                    <a:pt x="9059" y="959128"/>
                  </a:lnTo>
                  <a:cubicBezTo>
                    <a:pt x="7395" y="835217"/>
                    <a:pt x="1664" y="697166"/>
                    <a:pt x="0" y="573255"/>
                  </a:cubicBezTo>
                  <a:lnTo>
                    <a:pt x="2577595" y="573754"/>
                  </a:lnTo>
                  <a:lnTo>
                    <a:pt x="2575185" y="571099"/>
                  </a:lnTo>
                  <a:lnTo>
                    <a:pt x="3200920" y="2945"/>
                  </a:lnTo>
                  <a:close/>
                </a:path>
              </a:pathLst>
            </a:custGeom>
            <a:solidFill>
              <a:srgbClr val="00B050"/>
            </a:solidFill>
            <a:ln>
              <a:solidFill>
                <a:srgbClr val="00B05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endParaRPr lang="en-GB" b="1" dirty="0">
                <a:solidFill>
                  <a:prstClr val="white"/>
                </a:solidFill>
              </a:endParaRPr>
            </a:p>
          </p:txBody>
        </p:sp>
        <p:grpSp>
          <p:nvGrpSpPr>
            <p:cNvPr id="3" name="Group 26"/>
            <p:cNvGrpSpPr/>
            <p:nvPr/>
          </p:nvGrpSpPr>
          <p:grpSpPr>
            <a:xfrm>
              <a:off x="365604" y="4614366"/>
              <a:ext cx="7825644" cy="460792"/>
              <a:chOff x="300013" y="2813078"/>
              <a:chExt cx="7233796" cy="460792"/>
            </a:xfrm>
          </p:grpSpPr>
          <p:sp>
            <p:nvSpPr>
              <p:cNvPr id="45" name="TextBox 44"/>
              <p:cNvSpPr txBox="1"/>
              <p:nvPr/>
            </p:nvSpPr>
            <p:spPr bwMode="auto">
              <a:xfrm>
                <a:off x="300013" y="2924203"/>
                <a:ext cx="659632" cy="338554"/>
              </a:xfrm>
              <a:prstGeom prst="rect">
                <a:avLst/>
              </a:prstGeom>
              <a:noFill/>
              <a:ln>
                <a:noFill/>
                <a:tailEnd type="triangle" w="sm" len="med"/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GB" sz="1600" kern="0" dirty="0">
                    <a:solidFill>
                      <a:prstClr val="black">
                        <a:lumMod val="50000"/>
                      </a:prstClr>
                    </a:solidFill>
                    <a:cs typeface="Calibri" pitchFamily="34" charset="0"/>
                  </a:rPr>
                  <a:t>1920</a:t>
                </a:r>
              </a:p>
            </p:txBody>
          </p:sp>
          <p:sp>
            <p:nvSpPr>
              <p:cNvPr id="46" name="TextBox 45"/>
              <p:cNvSpPr txBox="1"/>
              <p:nvPr/>
            </p:nvSpPr>
            <p:spPr bwMode="auto">
              <a:xfrm>
                <a:off x="2362130" y="2924203"/>
                <a:ext cx="659632" cy="338554"/>
              </a:xfrm>
              <a:prstGeom prst="rect">
                <a:avLst/>
              </a:prstGeom>
              <a:noFill/>
              <a:ln>
                <a:noFill/>
                <a:tailEnd type="triangle" w="sm" len="med"/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GB" sz="1600" kern="0" dirty="0">
                    <a:solidFill>
                      <a:prstClr val="black">
                        <a:lumMod val="50000"/>
                      </a:prstClr>
                    </a:solidFill>
                    <a:cs typeface="Calibri" pitchFamily="34" charset="0"/>
                  </a:rPr>
                  <a:t>1950</a:t>
                </a:r>
              </a:p>
            </p:txBody>
          </p:sp>
          <p:sp>
            <p:nvSpPr>
              <p:cNvPr id="47" name="TextBox 46"/>
              <p:cNvSpPr txBox="1"/>
              <p:nvPr/>
            </p:nvSpPr>
            <p:spPr bwMode="auto">
              <a:xfrm>
                <a:off x="1011706" y="2924203"/>
                <a:ext cx="661251" cy="338554"/>
              </a:xfrm>
              <a:prstGeom prst="rect">
                <a:avLst/>
              </a:prstGeom>
              <a:noFill/>
              <a:ln>
                <a:noFill/>
                <a:tailEnd type="triangle" w="sm" len="med"/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GB" sz="1600" kern="0" dirty="0">
                    <a:solidFill>
                      <a:prstClr val="black">
                        <a:lumMod val="50000"/>
                      </a:prstClr>
                    </a:solidFill>
                    <a:cs typeface="Calibri" pitchFamily="34" charset="0"/>
                  </a:rPr>
                  <a:t>1930</a:t>
                </a:r>
              </a:p>
            </p:txBody>
          </p:sp>
          <p:sp>
            <p:nvSpPr>
              <p:cNvPr id="48" name="TextBox 47"/>
              <p:cNvSpPr txBox="1"/>
              <p:nvPr/>
            </p:nvSpPr>
            <p:spPr bwMode="auto">
              <a:xfrm>
                <a:off x="1683515" y="2932873"/>
                <a:ext cx="661251" cy="338554"/>
              </a:xfrm>
              <a:prstGeom prst="rect">
                <a:avLst/>
              </a:prstGeom>
              <a:noFill/>
              <a:ln>
                <a:noFill/>
                <a:tailEnd type="triangle" w="sm" len="med"/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GB" sz="1600" kern="0" dirty="0">
                    <a:solidFill>
                      <a:prstClr val="black">
                        <a:lumMod val="50000"/>
                      </a:prstClr>
                    </a:solidFill>
                    <a:cs typeface="Calibri" pitchFamily="34" charset="0"/>
                  </a:rPr>
                  <a:t>1940</a:t>
                </a:r>
              </a:p>
            </p:txBody>
          </p:sp>
          <p:sp>
            <p:nvSpPr>
              <p:cNvPr id="49" name="TextBox 48"/>
              <p:cNvSpPr txBox="1"/>
              <p:nvPr/>
            </p:nvSpPr>
            <p:spPr bwMode="auto">
              <a:xfrm>
                <a:off x="3035723" y="2924203"/>
                <a:ext cx="659632" cy="338554"/>
              </a:xfrm>
              <a:prstGeom prst="rect">
                <a:avLst/>
              </a:prstGeom>
              <a:noFill/>
              <a:ln>
                <a:noFill/>
                <a:tailEnd type="triangle" w="sm" len="med"/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GB" sz="1600" kern="0" dirty="0">
                    <a:solidFill>
                      <a:prstClr val="black">
                        <a:lumMod val="50000"/>
                      </a:prstClr>
                    </a:solidFill>
                    <a:cs typeface="Calibri" pitchFamily="34" charset="0"/>
                  </a:rPr>
                  <a:t>1960</a:t>
                </a:r>
              </a:p>
            </p:txBody>
          </p:sp>
          <p:sp>
            <p:nvSpPr>
              <p:cNvPr id="50" name="TextBox 49"/>
              <p:cNvSpPr txBox="1"/>
              <p:nvPr/>
            </p:nvSpPr>
            <p:spPr bwMode="auto">
              <a:xfrm>
                <a:off x="4378682" y="2926317"/>
                <a:ext cx="659632" cy="338554"/>
              </a:xfrm>
              <a:prstGeom prst="rect">
                <a:avLst/>
              </a:prstGeom>
              <a:noFill/>
              <a:ln>
                <a:noFill/>
                <a:tailEnd type="triangle" w="sm" len="med"/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GB" sz="1600" kern="0" dirty="0">
                    <a:solidFill>
                      <a:prstClr val="black">
                        <a:lumMod val="50000"/>
                      </a:prstClr>
                    </a:solidFill>
                    <a:cs typeface="Calibri" pitchFamily="34" charset="0"/>
                  </a:rPr>
                  <a:t>1980</a:t>
                </a:r>
              </a:p>
            </p:txBody>
          </p:sp>
          <p:sp>
            <p:nvSpPr>
              <p:cNvPr id="51" name="TextBox 50"/>
              <p:cNvSpPr txBox="1"/>
              <p:nvPr/>
            </p:nvSpPr>
            <p:spPr bwMode="auto">
              <a:xfrm>
                <a:off x="3709316" y="2924203"/>
                <a:ext cx="659632" cy="338554"/>
              </a:xfrm>
              <a:prstGeom prst="rect">
                <a:avLst/>
              </a:prstGeom>
              <a:noFill/>
              <a:ln>
                <a:noFill/>
                <a:tailEnd type="triangle" w="sm" len="med"/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GB" sz="1600" kern="0" dirty="0">
                    <a:solidFill>
                      <a:prstClr val="black">
                        <a:lumMod val="50000"/>
                      </a:prstClr>
                    </a:solidFill>
                    <a:cs typeface="Calibri" pitchFamily="34" charset="0"/>
                  </a:rPr>
                  <a:t>1970</a:t>
                </a:r>
              </a:p>
            </p:txBody>
          </p:sp>
          <p:sp>
            <p:nvSpPr>
              <p:cNvPr id="52" name="TextBox 51"/>
              <p:cNvSpPr txBox="1"/>
              <p:nvPr/>
            </p:nvSpPr>
            <p:spPr bwMode="auto">
              <a:xfrm>
                <a:off x="5056502" y="2924203"/>
                <a:ext cx="659632" cy="338554"/>
              </a:xfrm>
              <a:prstGeom prst="rect">
                <a:avLst/>
              </a:prstGeom>
              <a:noFill/>
              <a:ln>
                <a:noFill/>
                <a:tailEnd type="triangle" w="sm" len="med"/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GB" sz="1600" kern="0" dirty="0">
                    <a:solidFill>
                      <a:prstClr val="black">
                        <a:lumMod val="50000"/>
                      </a:prstClr>
                    </a:solidFill>
                    <a:cs typeface="Calibri" pitchFamily="34" charset="0"/>
                  </a:rPr>
                  <a:t>1990</a:t>
                </a:r>
              </a:p>
            </p:txBody>
          </p:sp>
          <p:sp>
            <p:nvSpPr>
              <p:cNvPr id="53" name="TextBox 52"/>
              <p:cNvSpPr txBox="1"/>
              <p:nvPr/>
            </p:nvSpPr>
            <p:spPr bwMode="auto">
              <a:xfrm>
                <a:off x="5730095" y="2935316"/>
                <a:ext cx="659632" cy="338554"/>
              </a:xfrm>
              <a:prstGeom prst="rect">
                <a:avLst/>
              </a:prstGeom>
              <a:noFill/>
              <a:ln>
                <a:noFill/>
                <a:tailEnd type="triangle" w="sm" len="med"/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GB" sz="1600" kern="0" dirty="0">
                    <a:solidFill>
                      <a:prstClr val="black">
                        <a:lumMod val="50000"/>
                      </a:prstClr>
                    </a:solidFill>
                    <a:cs typeface="Calibri" pitchFamily="34" charset="0"/>
                  </a:rPr>
                  <a:t>2000</a:t>
                </a:r>
              </a:p>
            </p:txBody>
          </p:sp>
          <p:sp>
            <p:nvSpPr>
              <p:cNvPr id="54" name="TextBox 53"/>
              <p:cNvSpPr txBox="1"/>
              <p:nvPr/>
            </p:nvSpPr>
            <p:spPr bwMode="auto">
              <a:xfrm>
                <a:off x="6403691" y="2935316"/>
                <a:ext cx="659632" cy="338554"/>
              </a:xfrm>
              <a:prstGeom prst="rect">
                <a:avLst/>
              </a:prstGeom>
              <a:noFill/>
              <a:ln>
                <a:noFill/>
                <a:tailEnd type="triangle" w="sm" len="med"/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GB" sz="1600" kern="0" dirty="0">
                    <a:solidFill>
                      <a:prstClr val="black">
                        <a:lumMod val="50000"/>
                      </a:prstClr>
                    </a:solidFill>
                    <a:cs typeface="Calibri" pitchFamily="34" charset="0"/>
                  </a:rPr>
                  <a:t>2010</a:t>
                </a:r>
              </a:p>
            </p:txBody>
          </p:sp>
          <p:cxnSp>
            <p:nvCxnSpPr>
              <p:cNvPr id="55" name="Straight Connector 85"/>
              <p:cNvCxnSpPr>
                <a:cxnSpLocks noChangeShapeType="1"/>
              </p:cNvCxnSpPr>
              <p:nvPr/>
            </p:nvCxnSpPr>
            <p:spPr bwMode="auto">
              <a:xfrm>
                <a:off x="645607" y="2813078"/>
                <a:ext cx="0" cy="111022"/>
              </a:xfrm>
              <a:prstGeom prst="line">
                <a:avLst/>
              </a:prstGeom>
              <a:noFill/>
              <a:ln w="28575" algn="ctr">
                <a:solidFill>
                  <a:srgbClr val="4A7EBB"/>
                </a:solidFill>
                <a:round/>
                <a:headEnd/>
                <a:tailEnd type="none" w="sm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6" name="Straight Connector 91"/>
              <p:cNvCxnSpPr>
                <a:cxnSpLocks noChangeShapeType="1"/>
              </p:cNvCxnSpPr>
              <p:nvPr/>
            </p:nvCxnSpPr>
            <p:spPr bwMode="auto">
              <a:xfrm>
                <a:off x="1352298" y="2813078"/>
                <a:ext cx="0" cy="111022"/>
              </a:xfrm>
              <a:prstGeom prst="line">
                <a:avLst/>
              </a:prstGeom>
              <a:noFill/>
              <a:ln w="28575" algn="ctr">
                <a:solidFill>
                  <a:srgbClr val="4A7EBB"/>
                </a:solidFill>
                <a:round/>
                <a:headEnd/>
                <a:tailEnd type="none" w="sm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7" name="Straight Connector 104"/>
              <p:cNvCxnSpPr>
                <a:cxnSpLocks noChangeShapeType="1"/>
              </p:cNvCxnSpPr>
              <p:nvPr/>
            </p:nvCxnSpPr>
            <p:spPr bwMode="auto">
              <a:xfrm>
                <a:off x="2049464" y="2813078"/>
                <a:ext cx="0" cy="111022"/>
              </a:xfrm>
              <a:prstGeom prst="line">
                <a:avLst/>
              </a:prstGeom>
              <a:noFill/>
              <a:ln w="28575" algn="ctr">
                <a:solidFill>
                  <a:srgbClr val="4A7EBB"/>
                </a:solidFill>
                <a:round/>
                <a:headEnd/>
                <a:tailEnd type="none" w="sm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8" name="Straight Connector 105"/>
              <p:cNvCxnSpPr>
                <a:cxnSpLocks noChangeShapeType="1"/>
              </p:cNvCxnSpPr>
              <p:nvPr/>
            </p:nvCxnSpPr>
            <p:spPr bwMode="auto">
              <a:xfrm>
                <a:off x="2660904" y="2813078"/>
                <a:ext cx="0" cy="111022"/>
              </a:xfrm>
              <a:prstGeom prst="line">
                <a:avLst/>
              </a:prstGeom>
              <a:noFill/>
              <a:ln w="28575" algn="ctr">
                <a:solidFill>
                  <a:srgbClr val="4A7EBB"/>
                </a:solidFill>
                <a:round/>
                <a:headEnd/>
                <a:tailEnd type="none" w="sm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59" name="Straight Connector 106"/>
              <p:cNvCxnSpPr>
                <a:cxnSpLocks noChangeShapeType="1"/>
              </p:cNvCxnSpPr>
              <p:nvPr/>
            </p:nvCxnSpPr>
            <p:spPr bwMode="auto">
              <a:xfrm>
                <a:off x="3386645" y="2813078"/>
                <a:ext cx="0" cy="111022"/>
              </a:xfrm>
              <a:prstGeom prst="line">
                <a:avLst/>
              </a:prstGeom>
              <a:noFill/>
              <a:ln w="28575" algn="ctr">
                <a:solidFill>
                  <a:srgbClr val="4A7EBB"/>
                </a:solidFill>
                <a:round/>
                <a:headEnd/>
                <a:tailEnd type="none" w="sm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60" name="Straight Connector 107"/>
              <p:cNvCxnSpPr>
                <a:cxnSpLocks noChangeShapeType="1"/>
              </p:cNvCxnSpPr>
              <p:nvPr/>
            </p:nvCxnSpPr>
            <p:spPr bwMode="auto">
              <a:xfrm>
                <a:off x="4064760" y="2813078"/>
                <a:ext cx="0" cy="111022"/>
              </a:xfrm>
              <a:prstGeom prst="line">
                <a:avLst/>
              </a:prstGeom>
              <a:noFill/>
              <a:ln w="28575" algn="ctr">
                <a:solidFill>
                  <a:srgbClr val="4A7EBB"/>
                </a:solidFill>
                <a:round/>
                <a:headEnd/>
                <a:tailEnd type="none" w="sm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61" name="Straight Connector 108"/>
              <p:cNvCxnSpPr>
                <a:cxnSpLocks noChangeShapeType="1"/>
              </p:cNvCxnSpPr>
              <p:nvPr/>
            </p:nvCxnSpPr>
            <p:spPr bwMode="auto">
              <a:xfrm>
                <a:off x="4707961" y="2813078"/>
                <a:ext cx="0" cy="111022"/>
              </a:xfrm>
              <a:prstGeom prst="line">
                <a:avLst/>
              </a:prstGeom>
              <a:noFill/>
              <a:ln w="28575" algn="ctr">
                <a:solidFill>
                  <a:srgbClr val="4A7EBB"/>
                </a:solidFill>
                <a:round/>
                <a:headEnd/>
                <a:tailEnd type="none" w="sm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62" name="Straight Connector 109"/>
              <p:cNvCxnSpPr>
                <a:cxnSpLocks noChangeShapeType="1"/>
              </p:cNvCxnSpPr>
              <p:nvPr/>
            </p:nvCxnSpPr>
            <p:spPr bwMode="auto">
              <a:xfrm>
                <a:off x="5390866" y="2813078"/>
                <a:ext cx="0" cy="111022"/>
              </a:xfrm>
              <a:prstGeom prst="line">
                <a:avLst/>
              </a:prstGeom>
              <a:noFill/>
              <a:ln w="28575" algn="ctr">
                <a:solidFill>
                  <a:srgbClr val="4A7EBB"/>
                </a:solidFill>
                <a:round/>
                <a:headEnd/>
                <a:tailEnd type="none" w="sm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63" name="Straight Connector 110"/>
              <p:cNvCxnSpPr>
                <a:cxnSpLocks noChangeShapeType="1"/>
              </p:cNvCxnSpPr>
              <p:nvPr/>
            </p:nvCxnSpPr>
            <p:spPr bwMode="auto">
              <a:xfrm>
                <a:off x="6035670" y="2813078"/>
                <a:ext cx="0" cy="111022"/>
              </a:xfrm>
              <a:prstGeom prst="line">
                <a:avLst/>
              </a:prstGeom>
              <a:noFill/>
              <a:ln w="28575" algn="ctr">
                <a:solidFill>
                  <a:srgbClr val="4A7EBB"/>
                </a:solidFill>
                <a:round/>
                <a:headEnd/>
                <a:tailEnd type="none" w="sm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64" name="Straight Connector 111"/>
              <p:cNvCxnSpPr>
                <a:cxnSpLocks noChangeShapeType="1"/>
              </p:cNvCxnSpPr>
              <p:nvPr/>
            </p:nvCxnSpPr>
            <p:spPr bwMode="auto">
              <a:xfrm>
                <a:off x="6733507" y="2813078"/>
                <a:ext cx="0" cy="111022"/>
              </a:xfrm>
              <a:prstGeom prst="line">
                <a:avLst/>
              </a:prstGeom>
              <a:noFill/>
              <a:ln w="28575" algn="ctr">
                <a:solidFill>
                  <a:srgbClr val="4A7EBB"/>
                </a:solidFill>
                <a:round/>
                <a:headEnd/>
                <a:tailEnd type="none" w="sm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65" name="Straight Connector 111"/>
              <p:cNvCxnSpPr>
                <a:cxnSpLocks noChangeShapeType="1"/>
              </p:cNvCxnSpPr>
              <p:nvPr/>
            </p:nvCxnSpPr>
            <p:spPr bwMode="auto">
              <a:xfrm>
                <a:off x="7000661" y="2813078"/>
                <a:ext cx="0" cy="111022"/>
              </a:xfrm>
              <a:prstGeom prst="line">
                <a:avLst/>
              </a:prstGeom>
              <a:noFill/>
              <a:ln w="28575" algn="ctr">
                <a:solidFill>
                  <a:srgbClr val="4A7EBB"/>
                </a:solidFill>
                <a:round/>
                <a:headEnd/>
                <a:tailEnd type="none" w="sm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66" name="Straight Connector 84"/>
              <p:cNvCxnSpPr>
                <a:cxnSpLocks noChangeShapeType="1"/>
              </p:cNvCxnSpPr>
              <p:nvPr/>
            </p:nvCxnSpPr>
            <p:spPr bwMode="auto">
              <a:xfrm>
                <a:off x="428836" y="2932873"/>
                <a:ext cx="7104973" cy="0"/>
              </a:xfrm>
              <a:prstGeom prst="line">
                <a:avLst/>
              </a:prstGeom>
              <a:noFill/>
              <a:ln w="28575" algn="ctr">
                <a:solidFill>
                  <a:srgbClr val="00002E"/>
                </a:solidFill>
                <a:round/>
                <a:headEnd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28" name="Rectangle 27"/>
            <p:cNvSpPr/>
            <p:nvPr/>
          </p:nvSpPr>
          <p:spPr>
            <a:xfrm>
              <a:off x="626724" y="2527958"/>
              <a:ext cx="2894733" cy="3598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>
                  <a:solidFill>
                    <a:srgbClr val="FF0000"/>
                  </a:solidFill>
                </a:rPr>
                <a:t>Influenza A – H1N1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4396820" y="1512158"/>
              <a:ext cx="4435601" cy="359858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>
                  <a:solidFill>
                    <a:prstClr val="white"/>
                  </a:solidFill>
                </a:rPr>
                <a:t>Influenza A – H3N2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2691060" y="3519989"/>
              <a:ext cx="141577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b="1" dirty="0">
                  <a:solidFill>
                    <a:srgbClr val="FFFFFF"/>
                  </a:solidFill>
                </a:rPr>
                <a:t>Influenza B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7110843" y="4136183"/>
              <a:ext cx="162844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b="1" dirty="0">
                  <a:solidFill>
                    <a:srgbClr val="FFFFFF"/>
                  </a:solidFill>
                </a:rPr>
                <a:t>B-Yamagata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110843" y="2958039"/>
              <a:ext cx="157018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b="1" dirty="0">
                  <a:solidFill>
                    <a:srgbClr val="FFFFFF"/>
                  </a:solidFill>
                </a:rPr>
                <a:t>B-Victoria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504967" y="881149"/>
              <a:ext cx="8327455" cy="5018798"/>
            </a:xfrm>
            <a:prstGeom prst="rect">
              <a:avLst/>
            </a:prstGeom>
            <a:no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3553149" y="2095008"/>
              <a:ext cx="843932" cy="35985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/>
              <a:r>
                <a:rPr lang="en-GB" b="1" dirty="0">
                  <a:solidFill>
                    <a:srgbClr val="FF0000"/>
                  </a:solidFill>
                </a:rPr>
                <a:t>H2N2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905705" y="2519858"/>
              <a:ext cx="3926716" cy="35985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b="1" dirty="0">
                  <a:solidFill>
                    <a:srgbClr val="FF0000"/>
                  </a:solidFill>
                </a:rPr>
                <a:t>Influenza A – H1N1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266367" y="2519625"/>
              <a:ext cx="1566054" cy="359858"/>
            </a:xfrm>
            <a:prstGeom prst="rect">
              <a:avLst/>
            </a:prstGeom>
            <a:pattFill prst="pct70">
              <a:fgClr>
                <a:schemeClr val="bg1"/>
              </a:fgClr>
              <a:bgClr>
                <a:schemeClr val="accent1"/>
              </a:bgClr>
            </a:patt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3175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GB" b="1" dirty="0">
                  <a:solidFill>
                    <a:srgbClr val="FF0000"/>
                  </a:solidFill>
                </a:rPr>
                <a:t>H1N1pdm09</a:t>
              </a:r>
            </a:p>
          </p:txBody>
        </p:sp>
        <p:cxnSp>
          <p:nvCxnSpPr>
            <p:cNvPr id="37" name="Straight Connector 84"/>
            <p:cNvCxnSpPr>
              <a:cxnSpLocks noChangeShapeType="1"/>
            </p:cNvCxnSpPr>
            <p:nvPr/>
          </p:nvCxnSpPr>
          <p:spPr bwMode="auto">
            <a:xfrm>
              <a:off x="626724" y="2206073"/>
              <a:ext cx="0" cy="313552"/>
            </a:xfrm>
            <a:prstGeom prst="line">
              <a:avLst/>
            </a:prstGeom>
            <a:noFill/>
            <a:ln w="28575" algn="ctr">
              <a:solidFill>
                <a:srgbClr val="00002E"/>
              </a:solidFill>
              <a:round/>
              <a:headEnd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8" name="TextBox 37"/>
            <p:cNvSpPr txBox="1"/>
            <p:nvPr/>
          </p:nvSpPr>
          <p:spPr>
            <a:xfrm>
              <a:off x="484419" y="1951661"/>
              <a:ext cx="19073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 err="1" smtClean="0">
                  <a:solidFill>
                    <a:srgbClr val="FF0000"/>
                  </a:solidFill>
                </a:rPr>
                <a:t>Pandémie</a:t>
              </a:r>
              <a:r>
                <a:rPr lang="en-GB" sz="1400" b="1" dirty="0" smtClean="0">
                  <a:solidFill>
                    <a:srgbClr val="FF0000"/>
                  </a:solidFill>
                </a:rPr>
                <a:t> 1918 </a:t>
              </a:r>
              <a:endParaRPr lang="en-GB" sz="1400" b="1" dirty="0">
                <a:solidFill>
                  <a:srgbClr val="FF0000"/>
                </a:solidFill>
              </a:endParaRPr>
            </a:p>
          </p:txBody>
        </p:sp>
        <p:cxnSp>
          <p:nvCxnSpPr>
            <p:cNvPr id="39" name="Straight Connector 84"/>
            <p:cNvCxnSpPr>
              <a:cxnSpLocks noChangeShapeType="1"/>
            </p:cNvCxnSpPr>
            <p:nvPr/>
          </p:nvCxnSpPr>
          <p:spPr bwMode="auto">
            <a:xfrm>
              <a:off x="3540474" y="1753527"/>
              <a:ext cx="0" cy="313552"/>
            </a:xfrm>
            <a:prstGeom prst="line">
              <a:avLst/>
            </a:prstGeom>
            <a:noFill/>
            <a:ln w="28575" algn="ctr">
              <a:solidFill>
                <a:srgbClr val="00002E"/>
              </a:solidFill>
              <a:round/>
              <a:headEnd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0" name="TextBox 39"/>
            <p:cNvSpPr txBox="1"/>
            <p:nvPr/>
          </p:nvSpPr>
          <p:spPr>
            <a:xfrm>
              <a:off x="1773868" y="1489512"/>
              <a:ext cx="19073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400" b="1" dirty="0" err="1" smtClean="0">
                  <a:solidFill>
                    <a:srgbClr val="FF0000"/>
                  </a:solidFill>
                </a:rPr>
                <a:t>Pandémie</a:t>
              </a:r>
              <a:r>
                <a:rPr lang="en-GB" sz="1400" b="1" dirty="0" smtClean="0">
                  <a:solidFill>
                    <a:srgbClr val="FF0000"/>
                  </a:solidFill>
                </a:rPr>
                <a:t> 1957 </a:t>
              </a:r>
              <a:endParaRPr lang="en-GB" sz="1400" b="1" dirty="0">
                <a:solidFill>
                  <a:srgbClr val="FF0000"/>
                </a:solidFill>
              </a:endParaRPr>
            </a:p>
          </p:txBody>
        </p:sp>
        <p:cxnSp>
          <p:nvCxnSpPr>
            <p:cNvPr id="41" name="Straight Connector 84"/>
            <p:cNvCxnSpPr>
              <a:cxnSpLocks noChangeShapeType="1"/>
            </p:cNvCxnSpPr>
            <p:nvPr/>
          </p:nvCxnSpPr>
          <p:spPr bwMode="auto">
            <a:xfrm>
              <a:off x="4387547" y="1200485"/>
              <a:ext cx="0" cy="313552"/>
            </a:xfrm>
            <a:prstGeom prst="line">
              <a:avLst/>
            </a:prstGeom>
            <a:noFill/>
            <a:ln w="28575" algn="ctr">
              <a:solidFill>
                <a:srgbClr val="00002E"/>
              </a:solidFill>
              <a:round/>
              <a:headEnd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2" name="TextBox 41"/>
            <p:cNvSpPr txBox="1"/>
            <p:nvPr/>
          </p:nvSpPr>
          <p:spPr>
            <a:xfrm>
              <a:off x="4244873" y="963813"/>
              <a:ext cx="19073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 err="1" smtClean="0">
                  <a:solidFill>
                    <a:srgbClr val="FF0000"/>
                  </a:solidFill>
                </a:rPr>
                <a:t>Pandémie</a:t>
              </a:r>
              <a:r>
                <a:rPr lang="en-GB" sz="1400" b="1" dirty="0" smtClean="0">
                  <a:solidFill>
                    <a:srgbClr val="FF0000"/>
                  </a:solidFill>
                </a:rPr>
                <a:t> 1968 </a:t>
              </a:r>
              <a:endParaRPr lang="en-GB" sz="1400" b="1" dirty="0">
                <a:solidFill>
                  <a:srgbClr val="FF0000"/>
                </a:solidFill>
              </a:endParaRPr>
            </a:p>
          </p:txBody>
        </p:sp>
        <p:cxnSp>
          <p:nvCxnSpPr>
            <p:cNvPr id="43" name="Straight Connector 84"/>
            <p:cNvCxnSpPr>
              <a:cxnSpLocks noChangeShapeType="1"/>
            </p:cNvCxnSpPr>
            <p:nvPr/>
          </p:nvCxnSpPr>
          <p:spPr bwMode="auto">
            <a:xfrm>
              <a:off x="7296805" y="2157341"/>
              <a:ext cx="0" cy="313552"/>
            </a:xfrm>
            <a:prstGeom prst="line">
              <a:avLst/>
            </a:prstGeom>
            <a:noFill/>
            <a:ln w="28575" algn="ctr">
              <a:solidFill>
                <a:srgbClr val="00002E"/>
              </a:solidFill>
              <a:round/>
              <a:headEnd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44" name="TextBox 43"/>
            <p:cNvSpPr txBox="1"/>
            <p:nvPr/>
          </p:nvSpPr>
          <p:spPr>
            <a:xfrm>
              <a:off x="5956348" y="1936764"/>
              <a:ext cx="190730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 err="1" smtClean="0">
                  <a:solidFill>
                    <a:srgbClr val="FF0000"/>
                  </a:solidFill>
                </a:rPr>
                <a:t>Pandémie</a:t>
              </a:r>
              <a:r>
                <a:rPr lang="en-GB" sz="1400" b="1" dirty="0" smtClean="0">
                  <a:solidFill>
                    <a:srgbClr val="FF0000"/>
                  </a:solidFill>
                </a:rPr>
                <a:t> 2009 </a:t>
              </a:r>
              <a:endParaRPr lang="en-GB" sz="1400" b="1" dirty="0">
                <a:solidFill>
                  <a:srgbClr val="FF0000"/>
                </a:solidFill>
              </a:endParaRPr>
            </a:p>
          </p:txBody>
        </p:sp>
      </p:grpSp>
      <p:sp>
        <p:nvSpPr>
          <p:cNvPr id="67" name="Text Box 4"/>
          <p:cNvSpPr txBox="1">
            <a:spLocks noChangeArrowheads="1"/>
          </p:cNvSpPr>
          <p:nvPr/>
        </p:nvSpPr>
        <p:spPr bwMode="auto">
          <a:xfrm>
            <a:off x="115554" y="6398286"/>
            <a:ext cx="88550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20000"/>
              </a:spcBef>
              <a:buClr>
                <a:srgbClr val="2DA2BF"/>
              </a:buClr>
            </a:pPr>
            <a:r>
              <a:rPr lang="en-GB" sz="1200" dirty="0">
                <a:solidFill>
                  <a:prstClr val="black"/>
                </a:solidFill>
                <a:latin typeface="Arial"/>
                <a:ea typeface="ＭＳ Ｐゴシック"/>
                <a:cs typeface="Calibri" pitchFamily="34" charset="0"/>
              </a:rPr>
              <a:t>McCullers JA, Huber MC. </a:t>
            </a:r>
            <a:r>
              <a:rPr lang="en-GB" sz="1200" i="1" dirty="0">
                <a:solidFill>
                  <a:prstClr val="black"/>
                </a:solidFill>
                <a:latin typeface="Arial"/>
                <a:ea typeface="ＭＳ Ｐゴシック"/>
                <a:cs typeface="Calibri" pitchFamily="34" charset="0"/>
              </a:rPr>
              <a:t>Hum </a:t>
            </a:r>
            <a:r>
              <a:rPr lang="en-GB" sz="1200" i="1" dirty="0" err="1">
                <a:solidFill>
                  <a:prstClr val="black"/>
                </a:solidFill>
                <a:latin typeface="Arial"/>
                <a:ea typeface="ＭＳ Ｐゴシック"/>
                <a:cs typeface="Calibri" pitchFamily="34" charset="0"/>
              </a:rPr>
              <a:t>Vaccin</a:t>
            </a:r>
            <a:r>
              <a:rPr lang="en-GB" sz="1200" i="1" dirty="0">
                <a:solidFill>
                  <a:prstClr val="black"/>
                </a:solidFill>
                <a:latin typeface="Arial"/>
                <a:ea typeface="ＭＳ Ｐゴシック"/>
                <a:cs typeface="Calibri" pitchFamily="34" charset="0"/>
              </a:rPr>
              <a:t> </a:t>
            </a:r>
            <a:r>
              <a:rPr lang="en-GB" sz="1200" i="1" dirty="0" err="1">
                <a:solidFill>
                  <a:prstClr val="black"/>
                </a:solidFill>
                <a:latin typeface="Arial"/>
                <a:ea typeface="ＭＳ Ｐゴシック"/>
                <a:cs typeface="Calibri" pitchFamily="34" charset="0"/>
              </a:rPr>
              <a:t>Immunother</a:t>
            </a:r>
            <a:r>
              <a:rPr lang="en-GB" sz="1200" dirty="0">
                <a:solidFill>
                  <a:prstClr val="black"/>
                </a:solidFill>
                <a:latin typeface="Arial"/>
                <a:ea typeface="ＭＳ Ｐゴシック"/>
                <a:cs typeface="Calibri" pitchFamily="34" charset="0"/>
              </a:rPr>
              <a:t> 2012;8:34-44 (adapted).</a:t>
            </a:r>
          </a:p>
        </p:txBody>
      </p:sp>
      <p:cxnSp>
        <p:nvCxnSpPr>
          <p:cNvPr id="69" name="Straight Arrow Connector 68"/>
          <p:cNvCxnSpPr>
            <a:cxnSpLocks noChangeShapeType="1"/>
          </p:cNvCxnSpPr>
          <p:nvPr/>
        </p:nvCxnSpPr>
        <p:spPr bwMode="auto">
          <a:xfrm flipV="1">
            <a:off x="2696163" y="5104495"/>
            <a:ext cx="0" cy="449446"/>
          </a:xfrm>
          <a:prstGeom prst="straightConnector1">
            <a:avLst/>
          </a:prstGeom>
          <a:noFill/>
          <a:ln w="28575" algn="ctr">
            <a:solidFill>
              <a:srgbClr val="685D55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0" name="Straight Arrow Connector 69"/>
          <p:cNvCxnSpPr>
            <a:cxnSpLocks noChangeShapeType="1"/>
          </p:cNvCxnSpPr>
          <p:nvPr/>
        </p:nvCxnSpPr>
        <p:spPr bwMode="auto">
          <a:xfrm flipV="1">
            <a:off x="2549287" y="5085734"/>
            <a:ext cx="0" cy="765749"/>
          </a:xfrm>
          <a:prstGeom prst="straightConnector1">
            <a:avLst/>
          </a:prstGeom>
          <a:noFill/>
          <a:ln w="28575" algn="ctr">
            <a:solidFill>
              <a:srgbClr val="685D55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Straight Arrow Connector 70"/>
          <p:cNvCxnSpPr>
            <a:cxnSpLocks noChangeShapeType="1"/>
          </p:cNvCxnSpPr>
          <p:nvPr/>
        </p:nvCxnSpPr>
        <p:spPr bwMode="auto">
          <a:xfrm flipV="1">
            <a:off x="4874346" y="5094603"/>
            <a:ext cx="1588" cy="690323"/>
          </a:xfrm>
          <a:prstGeom prst="straightConnector1">
            <a:avLst/>
          </a:prstGeom>
          <a:noFill/>
          <a:ln w="28575" algn="ctr">
            <a:solidFill>
              <a:srgbClr val="685D55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2" name="TextBox 85"/>
          <p:cNvSpPr txBox="1">
            <a:spLocks noChangeArrowheads="1"/>
          </p:cNvSpPr>
          <p:nvPr/>
        </p:nvSpPr>
        <p:spPr bwMode="auto">
          <a:xfrm>
            <a:off x="2549289" y="5506607"/>
            <a:ext cx="2720975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sz="1300" b="1" kern="0" dirty="0">
                <a:solidFill>
                  <a:srgbClr val="685D55"/>
                </a:solidFill>
              </a:rPr>
              <a:t>Bivalent </a:t>
            </a:r>
            <a:r>
              <a:rPr lang="en-GB" sz="1300" b="1" kern="0" dirty="0" smtClean="0">
                <a:solidFill>
                  <a:srgbClr val="685D55"/>
                </a:solidFill>
              </a:rPr>
              <a:t>vaccine</a:t>
            </a:r>
            <a:r>
              <a:rPr lang="en-GB" sz="1300" kern="0" dirty="0" smtClean="0">
                <a:solidFill>
                  <a:srgbClr val="685D55"/>
                </a:solidFill>
              </a:rPr>
              <a:t/>
            </a:r>
            <a:br>
              <a:rPr lang="en-GB" sz="1300" kern="0" dirty="0" smtClean="0">
                <a:solidFill>
                  <a:srgbClr val="685D55"/>
                </a:solidFill>
              </a:rPr>
            </a:br>
            <a:r>
              <a:rPr lang="en-GB" sz="1200" kern="0" dirty="0" smtClean="0">
                <a:solidFill>
                  <a:srgbClr val="685D55"/>
                </a:solidFill>
              </a:rPr>
              <a:t>(influenza </a:t>
            </a:r>
            <a:r>
              <a:rPr lang="en-GB" sz="1200" kern="0" dirty="0">
                <a:solidFill>
                  <a:srgbClr val="685D55"/>
                </a:solidFill>
              </a:rPr>
              <a:t>A &amp; B)</a:t>
            </a:r>
          </a:p>
        </p:txBody>
      </p:sp>
      <p:sp>
        <p:nvSpPr>
          <p:cNvPr id="73" name="TextBox 86"/>
          <p:cNvSpPr txBox="1">
            <a:spLocks noChangeArrowheads="1"/>
          </p:cNvSpPr>
          <p:nvPr/>
        </p:nvSpPr>
        <p:spPr bwMode="auto">
          <a:xfrm>
            <a:off x="2432453" y="5899650"/>
            <a:ext cx="2720975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sz="1300" b="1" kern="0" dirty="0">
                <a:solidFill>
                  <a:srgbClr val="685D55"/>
                </a:solidFill>
              </a:rPr>
              <a:t>Monovalent vaccine </a:t>
            </a:r>
            <a:r>
              <a:rPr lang="en-GB" sz="1200" kern="0" dirty="0">
                <a:solidFill>
                  <a:srgbClr val="685D55"/>
                </a:solidFill>
              </a:rPr>
              <a:t>(influenza A)</a:t>
            </a:r>
          </a:p>
        </p:txBody>
      </p:sp>
      <p:sp>
        <p:nvSpPr>
          <p:cNvPr id="74" name="TextBox 87"/>
          <p:cNvSpPr txBox="1">
            <a:spLocks noChangeArrowheads="1"/>
          </p:cNvSpPr>
          <p:nvPr/>
        </p:nvSpPr>
        <p:spPr bwMode="auto">
          <a:xfrm>
            <a:off x="4799709" y="5680388"/>
            <a:ext cx="3457575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sz="1300" b="1" kern="0" dirty="0">
                <a:solidFill>
                  <a:srgbClr val="685D55"/>
                </a:solidFill>
              </a:rPr>
              <a:t>Trivalent vaccine</a:t>
            </a:r>
            <a:r>
              <a:rPr lang="en-GB" sz="1300" kern="0" dirty="0">
                <a:solidFill>
                  <a:srgbClr val="685D55"/>
                </a:solidFill>
              </a:rPr>
              <a:t> </a:t>
            </a:r>
            <a:r>
              <a:rPr lang="en-GB" sz="1200" kern="0" dirty="0">
                <a:solidFill>
                  <a:srgbClr val="685D55"/>
                </a:solidFill>
              </a:rPr>
              <a:t>(H3N2, H1N1, B)</a:t>
            </a:r>
          </a:p>
        </p:txBody>
      </p:sp>
      <p:sp>
        <p:nvSpPr>
          <p:cNvPr id="75" name="TextBox 89"/>
          <p:cNvSpPr txBox="1">
            <a:spLocks noChangeArrowheads="1"/>
          </p:cNvSpPr>
          <p:nvPr/>
        </p:nvSpPr>
        <p:spPr bwMode="auto">
          <a:xfrm>
            <a:off x="441326" y="5322961"/>
            <a:ext cx="135731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GB" sz="1200" kern="0" dirty="0">
                <a:solidFill>
                  <a:srgbClr val="685D55"/>
                </a:solidFill>
              </a:rPr>
              <a:t>First isolation of influenza A virus</a:t>
            </a:r>
          </a:p>
        </p:txBody>
      </p:sp>
      <p:sp>
        <p:nvSpPr>
          <p:cNvPr id="76" name="TextBox 90"/>
          <p:cNvSpPr txBox="1">
            <a:spLocks noChangeArrowheads="1"/>
          </p:cNvSpPr>
          <p:nvPr/>
        </p:nvSpPr>
        <p:spPr bwMode="auto">
          <a:xfrm>
            <a:off x="1140268" y="5784926"/>
            <a:ext cx="138271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GB" sz="1200" kern="0" dirty="0">
                <a:solidFill>
                  <a:srgbClr val="685D55"/>
                </a:solidFill>
              </a:rPr>
              <a:t>First isolation of influenza B virus</a:t>
            </a:r>
          </a:p>
        </p:txBody>
      </p:sp>
      <p:cxnSp>
        <p:nvCxnSpPr>
          <p:cNvPr id="77" name="Straight Arrow Connector 76"/>
          <p:cNvCxnSpPr>
            <a:cxnSpLocks noChangeShapeType="1"/>
          </p:cNvCxnSpPr>
          <p:nvPr/>
        </p:nvCxnSpPr>
        <p:spPr bwMode="auto">
          <a:xfrm flipV="1">
            <a:off x="1798638" y="5094601"/>
            <a:ext cx="0" cy="544513"/>
          </a:xfrm>
          <a:prstGeom prst="straightConnector1">
            <a:avLst/>
          </a:prstGeom>
          <a:noFill/>
          <a:ln w="28575" algn="ctr">
            <a:solidFill>
              <a:srgbClr val="685D55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Straight Arrow Connector 77"/>
          <p:cNvCxnSpPr>
            <a:cxnSpLocks noChangeShapeType="1"/>
          </p:cNvCxnSpPr>
          <p:nvPr/>
        </p:nvCxnSpPr>
        <p:spPr bwMode="auto">
          <a:xfrm flipV="1">
            <a:off x="2333625" y="5389875"/>
            <a:ext cx="0" cy="436563"/>
          </a:xfrm>
          <a:prstGeom prst="straightConnector1">
            <a:avLst/>
          </a:prstGeom>
          <a:noFill/>
          <a:ln w="28575" algn="ctr">
            <a:solidFill>
              <a:srgbClr val="685D55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9" name="Straight Connector 78"/>
          <p:cNvCxnSpPr/>
          <p:nvPr/>
        </p:nvCxnSpPr>
        <p:spPr>
          <a:xfrm>
            <a:off x="8022781" y="5082055"/>
            <a:ext cx="669925" cy="0"/>
          </a:xfrm>
          <a:prstGeom prst="line">
            <a:avLst/>
          </a:prstGeom>
          <a:ln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111"/>
          <p:cNvCxnSpPr>
            <a:cxnSpLocks noChangeShapeType="1"/>
          </p:cNvCxnSpPr>
          <p:nvPr/>
        </p:nvCxnSpPr>
        <p:spPr bwMode="auto">
          <a:xfrm>
            <a:off x="7583120" y="5074544"/>
            <a:ext cx="127368" cy="221356"/>
          </a:xfrm>
          <a:prstGeom prst="line">
            <a:avLst/>
          </a:prstGeom>
          <a:noFill/>
          <a:ln w="28575" algn="ctr">
            <a:solidFill>
              <a:srgbClr val="4A7EBB"/>
            </a:solidFill>
            <a:round/>
            <a:headEnd/>
            <a:tailEnd type="none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1" name="TextBox 80"/>
          <p:cNvSpPr txBox="1"/>
          <p:nvPr/>
        </p:nvSpPr>
        <p:spPr bwMode="auto">
          <a:xfrm>
            <a:off x="7567524" y="5214219"/>
            <a:ext cx="713601" cy="338554"/>
          </a:xfrm>
          <a:prstGeom prst="rect">
            <a:avLst/>
          </a:prstGeom>
          <a:noFill/>
          <a:ln>
            <a:noFill/>
            <a:tailEnd type="triangle" w="sm" len="med"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GB" sz="1600" kern="0" dirty="0">
                <a:solidFill>
                  <a:prstClr val="black">
                    <a:lumMod val="50000"/>
                  </a:prstClr>
                </a:solidFill>
                <a:cs typeface="Calibri" pitchFamily="34" charset="0"/>
              </a:rPr>
              <a:t>2012</a:t>
            </a:r>
          </a:p>
        </p:txBody>
      </p:sp>
      <p:sp>
        <p:nvSpPr>
          <p:cNvPr id="82" name="Rectangle 81"/>
          <p:cNvSpPr/>
          <p:nvPr/>
        </p:nvSpPr>
        <p:spPr>
          <a:xfrm rot="5400000">
            <a:off x="8195856" y="5336143"/>
            <a:ext cx="16273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BE" sz="900" dirty="0">
                <a:solidFill>
                  <a:prstClr val="black"/>
                </a:solidFill>
              </a:rPr>
              <a:t>BE/FLU/0013/15- April 2015</a:t>
            </a:r>
          </a:p>
        </p:txBody>
      </p:sp>
    </p:spTree>
    <p:extLst>
      <p:ext uri="{BB962C8B-B14F-4D97-AF65-F5344CB8AC3E}">
        <p14:creationId xmlns:p14="http://schemas.microsoft.com/office/powerpoint/2010/main" val="1403995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52736"/>
          </a:xfrm>
        </p:spPr>
        <p:txBody>
          <a:bodyPr/>
          <a:lstStyle/>
          <a:p>
            <a:r>
              <a:rPr lang="fr-BE" dirty="0" smtClean="0"/>
              <a:t>Influenza B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805263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fr-BE" sz="2800" dirty="0" err="1" smtClean="0"/>
              <a:t>Clinically</a:t>
            </a:r>
            <a:r>
              <a:rPr lang="fr-BE" sz="2800" dirty="0" smtClean="0"/>
              <a:t> </a:t>
            </a:r>
            <a:r>
              <a:rPr lang="fr-BE" sz="2800" dirty="0" err="1" smtClean="0"/>
              <a:t>similar</a:t>
            </a:r>
            <a:r>
              <a:rPr lang="fr-BE" sz="2800" dirty="0" smtClean="0"/>
              <a:t> to influenza A</a:t>
            </a:r>
          </a:p>
          <a:p>
            <a:pPr>
              <a:buNone/>
            </a:pPr>
            <a:r>
              <a:rPr lang="fr-BE" sz="2800" dirty="0" smtClean="0"/>
              <a:t>		     If </a:t>
            </a:r>
            <a:r>
              <a:rPr lang="fr-BE" sz="2800" dirty="0" err="1" smtClean="0"/>
              <a:t>severe</a:t>
            </a:r>
            <a:r>
              <a:rPr lang="fr-BE" sz="2800" dirty="0" smtClean="0"/>
              <a:t> </a:t>
            </a:r>
            <a:r>
              <a:rPr lang="fr-BE" sz="2800" dirty="0" smtClean="0">
                <a:latin typeface="Times New Roman"/>
                <a:cs typeface="Times New Roman"/>
              </a:rPr>
              <a:t>≡</a:t>
            </a:r>
            <a:r>
              <a:rPr lang="fr-BE" sz="2800" dirty="0" smtClean="0"/>
              <a:t> influenza A</a:t>
            </a:r>
          </a:p>
          <a:p>
            <a:pPr>
              <a:buNone/>
            </a:pPr>
            <a:endParaRPr lang="fr-BE" sz="2800" dirty="0" smtClean="0"/>
          </a:p>
          <a:p>
            <a:pPr>
              <a:buFont typeface="Arial" pitchFamily="34" charset="0"/>
              <a:buChar char="•"/>
            </a:pPr>
            <a:r>
              <a:rPr lang="fr-BE" sz="2800" dirty="0" smtClean="0"/>
              <a:t>+/-  20-25 % of </a:t>
            </a:r>
            <a:r>
              <a:rPr lang="fr-BE" sz="2800" dirty="0" err="1" smtClean="0"/>
              <a:t>annual</a:t>
            </a:r>
            <a:r>
              <a:rPr lang="fr-BE" sz="2800" dirty="0" smtClean="0"/>
              <a:t> cases </a:t>
            </a:r>
            <a:r>
              <a:rPr lang="fr-BE" sz="2800" dirty="0" err="1" smtClean="0"/>
              <a:t>since</a:t>
            </a:r>
            <a:r>
              <a:rPr lang="fr-BE" sz="2800" dirty="0" smtClean="0"/>
              <a:t> 10 y</a:t>
            </a:r>
          </a:p>
          <a:p>
            <a:pPr>
              <a:buFont typeface="Arial" pitchFamily="34" charset="0"/>
              <a:buChar char="•"/>
            </a:pPr>
            <a:endParaRPr lang="fr-BE" sz="2800" dirty="0" smtClean="0"/>
          </a:p>
          <a:p>
            <a:pPr>
              <a:buFont typeface="Arial" pitchFamily="34" charset="0"/>
              <a:buChar char="•"/>
            </a:pPr>
            <a:r>
              <a:rPr lang="fr-BE" sz="2800" dirty="0" err="1" smtClean="0"/>
              <a:t>Mostly</a:t>
            </a:r>
            <a:r>
              <a:rPr lang="fr-BE" sz="2800" dirty="0" smtClean="0"/>
              <a:t> </a:t>
            </a:r>
            <a:r>
              <a:rPr lang="fr-BE" sz="2800" dirty="0" err="1" smtClean="0"/>
              <a:t>at</a:t>
            </a:r>
            <a:r>
              <a:rPr lang="fr-BE" sz="2800" dirty="0" smtClean="0"/>
              <a:t> the end of the </a:t>
            </a:r>
            <a:r>
              <a:rPr lang="fr-BE" sz="2800" dirty="0" err="1" smtClean="0"/>
              <a:t>season</a:t>
            </a:r>
            <a:endParaRPr lang="fr-BE" sz="2800" dirty="0" smtClean="0"/>
          </a:p>
          <a:p>
            <a:pPr>
              <a:buFont typeface="Arial" pitchFamily="34" charset="0"/>
              <a:buChar char="•"/>
            </a:pPr>
            <a:endParaRPr lang="fr-BE" sz="2800" dirty="0" smtClean="0"/>
          </a:p>
          <a:p>
            <a:pPr>
              <a:buFont typeface="Arial" pitchFamily="34" charset="0"/>
              <a:buChar char="•"/>
            </a:pPr>
            <a:r>
              <a:rPr lang="fr-BE" sz="2800" dirty="0" smtClean="0"/>
              <a:t>More </a:t>
            </a:r>
            <a:r>
              <a:rPr lang="fr-BE" sz="2800" dirty="0" err="1" smtClean="0"/>
              <a:t>frequent</a:t>
            </a:r>
            <a:r>
              <a:rPr lang="fr-BE" sz="2800" dirty="0" smtClean="0"/>
              <a:t> / </a:t>
            </a:r>
            <a:r>
              <a:rPr lang="fr-BE" sz="2800" dirty="0" err="1" smtClean="0"/>
              <a:t>severe</a:t>
            </a:r>
            <a:r>
              <a:rPr lang="fr-BE" sz="2800" dirty="0" smtClean="0"/>
              <a:t> (?) in </a:t>
            </a:r>
            <a:r>
              <a:rPr lang="fr-BE" sz="2800" dirty="0" err="1" smtClean="0"/>
              <a:t>children</a:t>
            </a:r>
            <a:endParaRPr lang="fr-BE" sz="2800" dirty="0" smtClean="0"/>
          </a:p>
          <a:p>
            <a:pPr>
              <a:buFont typeface="Arial" pitchFamily="34" charset="0"/>
              <a:buChar char="•"/>
            </a:pPr>
            <a:endParaRPr lang="fr-BE" sz="2800" dirty="0" smtClean="0"/>
          </a:p>
          <a:p>
            <a:pPr>
              <a:buFont typeface="Arial" pitchFamily="34" charset="0"/>
              <a:buChar char="•"/>
            </a:pPr>
            <a:r>
              <a:rPr lang="fr-BE" sz="2800" dirty="0" smtClean="0"/>
              <a:t>Great variations -</a:t>
            </a:r>
            <a:r>
              <a:rPr lang="fr-BE" sz="2800" dirty="0" err="1" smtClean="0"/>
              <a:t>seasons</a:t>
            </a:r>
            <a:endParaRPr lang="fr-BE" sz="2800" dirty="0" smtClean="0"/>
          </a:p>
          <a:p>
            <a:pPr>
              <a:buNone/>
            </a:pPr>
            <a:r>
              <a:rPr lang="fr-BE" dirty="0" smtClean="0"/>
              <a:t>  	</a:t>
            </a:r>
            <a:r>
              <a:rPr lang="fr-BE" sz="2800" dirty="0" smtClean="0"/>
              <a:t>                          - countries</a:t>
            </a:r>
          </a:p>
          <a:p>
            <a:pPr>
              <a:buFont typeface="Arial" pitchFamily="34" charset="0"/>
              <a:buChar char="•"/>
            </a:pPr>
            <a:endParaRPr lang="fr-B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BE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35697" y="395712"/>
            <a:ext cx="6462291" cy="6462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18864" y="44625"/>
            <a:ext cx="8229600" cy="620688"/>
          </a:xfrm>
        </p:spPr>
        <p:txBody>
          <a:bodyPr>
            <a:normAutofit fontScale="90000"/>
          </a:bodyPr>
          <a:lstStyle/>
          <a:p>
            <a:r>
              <a:rPr lang="en-US" sz="2400" b="1" dirty="0"/>
              <a:t>Figure 2. Dominance and co-dominance of sentinel </a:t>
            </a:r>
            <a:r>
              <a:rPr lang="en-US" sz="2400" b="1" dirty="0">
                <a:solidFill>
                  <a:srgbClr val="FF0000"/>
                </a:solidFill>
              </a:rPr>
              <a:t>influenza A and B </a:t>
            </a:r>
            <a:r>
              <a:rPr lang="en-US" sz="2400" b="1" dirty="0"/>
              <a:t>viruses, EU/EEA, </a:t>
            </a:r>
            <a:r>
              <a:rPr lang="en-US" sz="2400" b="1" dirty="0">
                <a:solidFill>
                  <a:srgbClr val="FF0000"/>
                </a:solidFill>
              </a:rPr>
              <a:t>2012–2013</a:t>
            </a:r>
            <a:endParaRPr lang="fr-BE" sz="24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object 95"/>
          <p:cNvSpPr/>
          <p:nvPr/>
        </p:nvSpPr>
        <p:spPr>
          <a:xfrm>
            <a:off x="0" y="-1"/>
            <a:ext cx="9144000" cy="513636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7496175" y="178346"/>
            <a:ext cx="1517650" cy="613510"/>
          </a:xfrm>
          <a:custGeom>
            <a:avLst/>
            <a:gdLst/>
            <a:ahLst/>
            <a:cxnLst/>
            <a:rect l="l" t="t" r="r" b="b"/>
            <a:pathLst>
              <a:path w="1517650" h="819150">
                <a:moveTo>
                  <a:pt x="0" y="819150"/>
                </a:moveTo>
                <a:lnTo>
                  <a:pt x="1517650" y="819150"/>
                </a:lnTo>
                <a:lnTo>
                  <a:pt x="1517650" y="0"/>
                </a:lnTo>
                <a:lnTo>
                  <a:pt x="0" y="0"/>
                </a:lnTo>
                <a:lnTo>
                  <a:pt x="0" y="8191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4956937" y="3356463"/>
            <a:ext cx="2665476" cy="144845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3114802" y="1568161"/>
            <a:ext cx="216700" cy="288920"/>
          </a:xfrm>
          <a:custGeom>
            <a:avLst/>
            <a:gdLst/>
            <a:ahLst/>
            <a:cxnLst/>
            <a:rect l="l" t="t" r="r" b="b"/>
            <a:pathLst>
              <a:path w="216700" h="385762">
                <a:moveTo>
                  <a:pt x="0" y="385762"/>
                </a:moveTo>
                <a:lnTo>
                  <a:pt x="216700" y="385762"/>
                </a:lnTo>
                <a:lnTo>
                  <a:pt x="216700" y="0"/>
                </a:lnTo>
                <a:lnTo>
                  <a:pt x="0" y="0"/>
                </a:lnTo>
                <a:lnTo>
                  <a:pt x="0" y="385762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3114802" y="1568161"/>
            <a:ext cx="216700" cy="315078"/>
          </a:xfrm>
          <a:custGeom>
            <a:avLst/>
            <a:gdLst/>
            <a:ahLst/>
            <a:cxnLst/>
            <a:rect l="l" t="t" r="r" b="b"/>
            <a:pathLst>
              <a:path w="216700" h="420687">
                <a:moveTo>
                  <a:pt x="0" y="420687"/>
                </a:moveTo>
                <a:lnTo>
                  <a:pt x="216700" y="420687"/>
                </a:lnTo>
                <a:lnTo>
                  <a:pt x="216700" y="0"/>
                </a:lnTo>
                <a:lnTo>
                  <a:pt x="0" y="0"/>
                </a:lnTo>
                <a:lnTo>
                  <a:pt x="0" y="420687"/>
                </a:lnTo>
                <a:close/>
              </a:path>
            </a:pathLst>
          </a:custGeom>
          <a:ln w="9524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3114802" y="1971223"/>
            <a:ext cx="216700" cy="875085"/>
          </a:xfrm>
          <a:custGeom>
            <a:avLst/>
            <a:gdLst/>
            <a:ahLst/>
            <a:cxnLst/>
            <a:rect l="l" t="t" r="r" b="b"/>
            <a:pathLst>
              <a:path w="216700" h="1168400">
                <a:moveTo>
                  <a:pt x="0" y="1168400"/>
                </a:moveTo>
                <a:lnTo>
                  <a:pt x="216700" y="1168400"/>
                </a:lnTo>
                <a:lnTo>
                  <a:pt x="216700" y="0"/>
                </a:lnTo>
                <a:lnTo>
                  <a:pt x="0" y="0"/>
                </a:lnTo>
                <a:lnTo>
                  <a:pt x="0" y="116840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3114802" y="1971223"/>
            <a:ext cx="216700" cy="875085"/>
          </a:xfrm>
          <a:custGeom>
            <a:avLst/>
            <a:gdLst/>
            <a:ahLst/>
            <a:cxnLst/>
            <a:rect l="l" t="t" r="r" b="b"/>
            <a:pathLst>
              <a:path w="216700" h="1168400">
                <a:moveTo>
                  <a:pt x="0" y="1168400"/>
                </a:moveTo>
                <a:lnTo>
                  <a:pt x="216700" y="1168400"/>
                </a:lnTo>
                <a:lnTo>
                  <a:pt x="216700" y="0"/>
                </a:lnTo>
                <a:lnTo>
                  <a:pt x="0" y="0"/>
                </a:lnTo>
                <a:lnTo>
                  <a:pt x="0" y="1168400"/>
                </a:lnTo>
                <a:close/>
              </a:path>
            </a:pathLst>
          </a:custGeom>
          <a:ln w="9525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3114802" y="1857082"/>
            <a:ext cx="216700" cy="109386"/>
          </a:xfrm>
          <a:custGeom>
            <a:avLst/>
            <a:gdLst/>
            <a:ahLst/>
            <a:cxnLst/>
            <a:rect l="l" t="t" r="r" b="b"/>
            <a:pathLst>
              <a:path w="216700" h="146050">
                <a:moveTo>
                  <a:pt x="0" y="146050"/>
                </a:moveTo>
                <a:lnTo>
                  <a:pt x="216700" y="146050"/>
                </a:lnTo>
                <a:lnTo>
                  <a:pt x="216700" y="0"/>
                </a:lnTo>
                <a:lnTo>
                  <a:pt x="0" y="0"/>
                </a:lnTo>
                <a:lnTo>
                  <a:pt x="0" y="146050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3114802" y="1857082"/>
            <a:ext cx="216700" cy="109386"/>
          </a:xfrm>
          <a:custGeom>
            <a:avLst/>
            <a:gdLst/>
            <a:ahLst/>
            <a:cxnLst/>
            <a:rect l="l" t="t" r="r" b="b"/>
            <a:pathLst>
              <a:path w="216700" h="146050">
                <a:moveTo>
                  <a:pt x="0" y="146050"/>
                </a:moveTo>
                <a:lnTo>
                  <a:pt x="216700" y="146050"/>
                </a:lnTo>
                <a:lnTo>
                  <a:pt x="216700" y="0"/>
                </a:lnTo>
                <a:lnTo>
                  <a:pt x="0" y="0"/>
                </a:lnTo>
                <a:lnTo>
                  <a:pt x="0" y="146050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1363473" y="1568161"/>
            <a:ext cx="216687" cy="412573"/>
          </a:xfrm>
          <a:custGeom>
            <a:avLst/>
            <a:gdLst/>
            <a:ahLst/>
            <a:cxnLst/>
            <a:rect l="l" t="t" r="r" b="b"/>
            <a:pathLst>
              <a:path w="216687" h="550862">
                <a:moveTo>
                  <a:pt x="0" y="550862"/>
                </a:moveTo>
                <a:lnTo>
                  <a:pt x="216687" y="550862"/>
                </a:lnTo>
                <a:lnTo>
                  <a:pt x="216687" y="0"/>
                </a:lnTo>
                <a:lnTo>
                  <a:pt x="0" y="0"/>
                </a:lnTo>
                <a:lnTo>
                  <a:pt x="0" y="550862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1363473" y="1568161"/>
            <a:ext cx="216687" cy="412573"/>
          </a:xfrm>
          <a:custGeom>
            <a:avLst/>
            <a:gdLst/>
            <a:ahLst/>
            <a:cxnLst/>
            <a:rect l="l" t="t" r="r" b="b"/>
            <a:pathLst>
              <a:path w="216687" h="550862">
                <a:moveTo>
                  <a:pt x="0" y="550862"/>
                </a:moveTo>
                <a:lnTo>
                  <a:pt x="216687" y="550862"/>
                </a:lnTo>
                <a:lnTo>
                  <a:pt x="216687" y="0"/>
                </a:lnTo>
                <a:lnTo>
                  <a:pt x="0" y="0"/>
                </a:lnTo>
                <a:lnTo>
                  <a:pt x="0" y="550862"/>
                </a:lnTo>
                <a:close/>
              </a:path>
            </a:pathLst>
          </a:custGeom>
          <a:ln w="9524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1363473" y="1983399"/>
            <a:ext cx="216687" cy="848927"/>
          </a:xfrm>
          <a:custGeom>
            <a:avLst/>
            <a:gdLst/>
            <a:ahLst/>
            <a:cxnLst/>
            <a:rect l="l" t="t" r="r" b="b"/>
            <a:pathLst>
              <a:path w="216687" h="1133475">
                <a:moveTo>
                  <a:pt x="0" y="1133475"/>
                </a:moveTo>
                <a:lnTo>
                  <a:pt x="216687" y="1133475"/>
                </a:lnTo>
                <a:lnTo>
                  <a:pt x="216687" y="0"/>
                </a:lnTo>
                <a:lnTo>
                  <a:pt x="0" y="0"/>
                </a:lnTo>
                <a:lnTo>
                  <a:pt x="0" y="1133475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1363473" y="1983399"/>
            <a:ext cx="216687" cy="848927"/>
          </a:xfrm>
          <a:custGeom>
            <a:avLst/>
            <a:gdLst/>
            <a:ahLst/>
            <a:cxnLst/>
            <a:rect l="l" t="t" r="r" b="b"/>
            <a:pathLst>
              <a:path w="216687" h="1133475">
                <a:moveTo>
                  <a:pt x="0" y="1133475"/>
                </a:moveTo>
                <a:lnTo>
                  <a:pt x="216687" y="1133475"/>
                </a:lnTo>
                <a:lnTo>
                  <a:pt x="216687" y="0"/>
                </a:lnTo>
                <a:lnTo>
                  <a:pt x="0" y="0"/>
                </a:lnTo>
                <a:lnTo>
                  <a:pt x="0" y="1133475"/>
                </a:lnTo>
                <a:close/>
              </a:path>
            </a:pathLst>
          </a:custGeom>
          <a:ln w="9525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1011948" y="1565736"/>
            <a:ext cx="1066" cy="1286469"/>
          </a:xfrm>
          <a:custGeom>
            <a:avLst/>
            <a:gdLst/>
            <a:ahLst/>
            <a:cxnLst/>
            <a:rect l="l" t="t" r="r" b="b"/>
            <a:pathLst>
              <a:path w="1066" h="1717675">
                <a:moveTo>
                  <a:pt x="0" y="0"/>
                </a:moveTo>
                <a:lnTo>
                  <a:pt x="1066" y="1717675"/>
                </a:lnTo>
              </a:path>
            </a:pathLst>
          </a:custGeom>
          <a:ln w="19050">
            <a:solidFill>
              <a:srgbClr val="9A8A7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988402" y="2590631"/>
            <a:ext cx="25006" cy="0"/>
          </a:xfrm>
          <a:custGeom>
            <a:avLst/>
            <a:gdLst/>
            <a:ahLst/>
            <a:cxnLst/>
            <a:rect l="l" t="t" r="r" b="b"/>
            <a:pathLst>
              <a:path w="25006">
                <a:moveTo>
                  <a:pt x="0" y="0"/>
                </a:moveTo>
                <a:lnTo>
                  <a:pt x="25006" y="0"/>
                </a:lnTo>
              </a:path>
            </a:pathLst>
          </a:custGeom>
          <a:ln w="19050">
            <a:solidFill>
              <a:srgbClr val="9A8A7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988402" y="2847449"/>
            <a:ext cx="25006" cy="0"/>
          </a:xfrm>
          <a:custGeom>
            <a:avLst/>
            <a:gdLst/>
            <a:ahLst/>
            <a:cxnLst/>
            <a:rect l="l" t="t" r="r" b="b"/>
            <a:pathLst>
              <a:path w="25006">
                <a:moveTo>
                  <a:pt x="0" y="0"/>
                </a:moveTo>
                <a:lnTo>
                  <a:pt x="25006" y="0"/>
                </a:lnTo>
              </a:path>
            </a:pathLst>
          </a:custGeom>
          <a:ln w="19050">
            <a:solidFill>
              <a:srgbClr val="9A8A7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988402" y="2337427"/>
            <a:ext cx="25006" cy="0"/>
          </a:xfrm>
          <a:custGeom>
            <a:avLst/>
            <a:gdLst/>
            <a:ahLst/>
            <a:cxnLst/>
            <a:rect l="l" t="t" r="r" b="b"/>
            <a:pathLst>
              <a:path w="25006">
                <a:moveTo>
                  <a:pt x="0" y="0"/>
                </a:moveTo>
                <a:lnTo>
                  <a:pt x="25006" y="0"/>
                </a:lnTo>
              </a:path>
            </a:pathLst>
          </a:custGeom>
          <a:ln w="19050">
            <a:solidFill>
              <a:srgbClr val="9A8A7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988402" y="2081750"/>
            <a:ext cx="25006" cy="0"/>
          </a:xfrm>
          <a:custGeom>
            <a:avLst/>
            <a:gdLst/>
            <a:ahLst/>
            <a:cxnLst/>
            <a:rect l="l" t="t" r="r" b="b"/>
            <a:pathLst>
              <a:path w="25006">
                <a:moveTo>
                  <a:pt x="0" y="0"/>
                </a:moveTo>
                <a:lnTo>
                  <a:pt x="25006" y="0"/>
                </a:lnTo>
              </a:path>
            </a:pathLst>
          </a:custGeom>
          <a:ln w="19050">
            <a:solidFill>
              <a:srgbClr val="9A8A7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14" name="object 114"/>
          <p:cNvSpPr/>
          <p:nvPr/>
        </p:nvSpPr>
        <p:spPr>
          <a:xfrm>
            <a:off x="988402" y="1826168"/>
            <a:ext cx="25006" cy="0"/>
          </a:xfrm>
          <a:custGeom>
            <a:avLst/>
            <a:gdLst/>
            <a:ahLst/>
            <a:cxnLst/>
            <a:rect l="l" t="t" r="r" b="b"/>
            <a:pathLst>
              <a:path w="25006">
                <a:moveTo>
                  <a:pt x="0" y="0"/>
                </a:moveTo>
                <a:lnTo>
                  <a:pt x="25006" y="0"/>
                </a:lnTo>
              </a:path>
            </a:pathLst>
          </a:custGeom>
          <a:ln w="19050">
            <a:solidFill>
              <a:srgbClr val="9A8A7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15" name="object 115"/>
          <p:cNvSpPr/>
          <p:nvPr/>
        </p:nvSpPr>
        <p:spPr>
          <a:xfrm>
            <a:off x="988402" y="1571728"/>
            <a:ext cx="25006" cy="0"/>
          </a:xfrm>
          <a:custGeom>
            <a:avLst/>
            <a:gdLst/>
            <a:ahLst/>
            <a:cxnLst/>
            <a:rect l="l" t="t" r="r" b="b"/>
            <a:pathLst>
              <a:path w="25006">
                <a:moveTo>
                  <a:pt x="0" y="0"/>
                </a:moveTo>
                <a:lnTo>
                  <a:pt x="25006" y="0"/>
                </a:lnTo>
              </a:path>
            </a:pathLst>
          </a:custGeom>
          <a:ln w="19050">
            <a:solidFill>
              <a:srgbClr val="9A8A7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16" name="object 116"/>
          <p:cNvSpPr/>
          <p:nvPr/>
        </p:nvSpPr>
        <p:spPr>
          <a:xfrm>
            <a:off x="1071753" y="1568161"/>
            <a:ext cx="216700" cy="158086"/>
          </a:xfrm>
          <a:custGeom>
            <a:avLst/>
            <a:gdLst/>
            <a:ahLst/>
            <a:cxnLst/>
            <a:rect l="l" t="t" r="r" b="b"/>
            <a:pathLst>
              <a:path w="216700" h="211074">
                <a:moveTo>
                  <a:pt x="0" y="211074"/>
                </a:moveTo>
                <a:lnTo>
                  <a:pt x="216700" y="211074"/>
                </a:lnTo>
                <a:lnTo>
                  <a:pt x="216700" y="0"/>
                </a:lnTo>
                <a:lnTo>
                  <a:pt x="0" y="0"/>
                </a:lnTo>
                <a:lnTo>
                  <a:pt x="0" y="211074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17" name="object 117"/>
          <p:cNvSpPr/>
          <p:nvPr/>
        </p:nvSpPr>
        <p:spPr>
          <a:xfrm>
            <a:off x="1071753" y="1568161"/>
            <a:ext cx="216700" cy="193802"/>
          </a:xfrm>
          <a:custGeom>
            <a:avLst/>
            <a:gdLst/>
            <a:ahLst/>
            <a:cxnLst/>
            <a:rect l="l" t="t" r="r" b="b"/>
            <a:pathLst>
              <a:path w="216700" h="258762">
                <a:moveTo>
                  <a:pt x="0" y="258762"/>
                </a:moveTo>
                <a:lnTo>
                  <a:pt x="216700" y="258762"/>
                </a:lnTo>
                <a:lnTo>
                  <a:pt x="216700" y="0"/>
                </a:lnTo>
                <a:lnTo>
                  <a:pt x="0" y="0"/>
                </a:lnTo>
                <a:lnTo>
                  <a:pt x="0" y="258762"/>
                </a:lnTo>
                <a:close/>
              </a:path>
            </a:pathLst>
          </a:custGeom>
          <a:ln w="9524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18" name="object 118"/>
          <p:cNvSpPr/>
          <p:nvPr/>
        </p:nvSpPr>
        <p:spPr>
          <a:xfrm>
            <a:off x="1071753" y="1896270"/>
            <a:ext cx="216700" cy="951179"/>
          </a:xfrm>
          <a:custGeom>
            <a:avLst/>
            <a:gdLst/>
            <a:ahLst/>
            <a:cxnLst/>
            <a:rect l="l" t="t" r="r" b="b"/>
            <a:pathLst>
              <a:path w="216700" h="1270000">
                <a:moveTo>
                  <a:pt x="0" y="1270000"/>
                </a:moveTo>
                <a:lnTo>
                  <a:pt x="216700" y="1270000"/>
                </a:lnTo>
                <a:lnTo>
                  <a:pt x="216700" y="0"/>
                </a:lnTo>
                <a:lnTo>
                  <a:pt x="0" y="0"/>
                </a:lnTo>
                <a:lnTo>
                  <a:pt x="0" y="127000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19" name="object 119"/>
          <p:cNvSpPr/>
          <p:nvPr/>
        </p:nvSpPr>
        <p:spPr>
          <a:xfrm>
            <a:off x="1071753" y="1880767"/>
            <a:ext cx="216700" cy="966683"/>
          </a:xfrm>
          <a:custGeom>
            <a:avLst/>
            <a:gdLst/>
            <a:ahLst/>
            <a:cxnLst/>
            <a:rect l="l" t="t" r="r" b="b"/>
            <a:pathLst>
              <a:path w="216700" h="1290701">
                <a:moveTo>
                  <a:pt x="0" y="1290701"/>
                </a:moveTo>
                <a:lnTo>
                  <a:pt x="216700" y="1290701"/>
                </a:lnTo>
                <a:lnTo>
                  <a:pt x="216700" y="0"/>
                </a:lnTo>
                <a:lnTo>
                  <a:pt x="0" y="0"/>
                </a:lnTo>
                <a:lnTo>
                  <a:pt x="0" y="1290701"/>
                </a:lnTo>
                <a:close/>
              </a:path>
            </a:pathLst>
          </a:custGeom>
          <a:ln w="9525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1071753" y="1726247"/>
            <a:ext cx="216700" cy="170023"/>
          </a:xfrm>
          <a:custGeom>
            <a:avLst/>
            <a:gdLst/>
            <a:ahLst/>
            <a:cxnLst/>
            <a:rect l="l" t="t" r="r" b="b"/>
            <a:pathLst>
              <a:path w="216700" h="227012">
                <a:moveTo>
                  <a:pt x="0" y="227012"/>
                </a:moveTo>
                <a:lnTo>
                  <a:pt x="216700" y="227012"/>
                </a:lnTo>
                <a:lnTo>
                  <a:pt x="216700" y="0"/>
                </a:lnTo>
                <a:lnTo>
                  <a:pt x="0" y="0"/>
                </a:lnTo>
                <a:lnTo>
                  <a:pt x="0" y="227012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1071753" y="1726247"/>
            <a:ext cx="216700" cy="170023"/>
          </a:xfrm>
          <a:custGeom>
            <a:avLst/>
            <a:gdLst/>
            <a:ahLst/>
            <a:cxnLst/>
            <a:rect l="l" t="t" r="r" b="b"/>
            <a:pathLst>
              <a:path w="216700" h="227012">
                <a:moveTo>
                  <a:pt x="0" y="227012"/>
                </a:moveTo>
                <a:lnTo>
                  <a:pt x="216700" y="227012"/>
                </a:lnTo>
                <a:lnTo>
                  <a:pt x="216700" y="0"/>
                </a:lnTo>
                <a:lnTo>
                  <a:pt x="0" y="0"/>
                </a:lnTo>
                <a:lnTo>
                  <a:pt x="0" y="227012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1655192" y="1580003"/>
            <a:ext cx="217881" cy="0"/>
          </a:xfrm>
          <a:custGeom>
            <a:avLst/>
            <a:gdLst/>
            <a:ahLst/>
            <a:cxnLst/>
            <a:rect l="l" t="t" r="r" b="b"/>
            <a:pathLst>
              <a:path w="217881">
                <a:moveTo>
                  <a:pt x="0" y="0"/>
                </a:moveTo>
                <a:lnTo>
                  <a:pt x="217881" y="0"/>
                </a:lnTo>
              </a:path>
            </a:pathLst>
          </a:custGeom>
          <a:ln w="33020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1655192" y="1568114"/>
            <a:ext cx="217881" cy="23779"/>
          </a:xfrm>
          <a:custGeom>
            <a:avLst/>
            <a:gdLst/>
            <a:ahLst/>
            <a:cxnLst/>
            <a:rect l="l" t="t" r="r" b="b"/>
            <a:pathLst>
              <a:path w="217881" h="31750">
                <a:moveTo>
                  <a:pt x="0" y="31750"/>
                </a:moveTo>
                <a:lnTo>
                  <a:pt x="217881" y="31750"/>
                </a:lnTo>
                <a:lnTo>
                  <a:pt x="217881" y="0"/>
                </a:lnTo>
                <a:lnTo>
                  <a:pt x="0" y="0"/>
                </a:lnTo>
                <a:lnTo>
                  <a:pt x="0" y="31750"/>
                </a:lnTo>
                <a:close/>
              </a:path>
            </a:pathLst>
          </a:custGeom>
          <a:ln w="9525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1655192" y="1719161"/>
            <a:ext cx="217881" cy="1117635"/>
          </a:xfrm>
          <a:custGeom>
            <a:avLst/>
            <a:gdLst/>
            <a:ahLst/>
            <a:cxnLst/>
            <a:rect l="l" t="t" r="r" b="b"/>
            <a:pathLst>
              <a:path w="217881" h="1492250">
                <a:moveTo>
                  <a:pt x="0" y="1492250"/>
                </a:moveTo>
                <a:lnTo>
                  <a:pt x="217881" y="1492250"/>
                </a:lnTo>
                <a:lnTo>
                  <a:pt x="217881" y="0"/>
                </a:lnTo>
                <a:lnTo>
                  <a:pt x="0" y="0"/>
                </a:lnTo>
                <a:lnTo>
                  <a:pt x="0" y="149225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25" name="object 125"/>
          <p:cNvSpPr/>
          <p:nvPr/>
        </p:nvSpPr>
        <p:spPr>
          <a:xfrm>
            <a:off x="1655192" y="1695381"/>
            <a:ext cx="217881" cy="1141415"/>
          </a:xfrm>
          <a:custGeom>
            <a:avLst/>
            <a:gdLst/>
            <a:ahLst/>
            <a:cxnLst/>
            <a:rect l="l" t="t" r="r" b="b"/>
            <a:pathLst>
              <a:path w="217881" h="1524000">
                <a:moveTo>
                  <a:pt x="0" y="1524000"/>
                </a:moveTo>
                <a:lnTo>
                  <a:pt x="217881" y="1524000"/>
                </a:lnTo>
                <a:lnTo>
                  <a:pt x="217881" y="0"/>
                </a:lnTo>
                <a:lnTo>
                  <a:pt x="0" y="0"/>
                </a:lnTo>
                <a:lnTo>
                  <a:pt x="0" y="1524000"/>
                </a:lnTo>
                <a:close/>
              </a:path>
            </a:pathLst>
          </a:custGeom>
          <a:ln w="9525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1655192" y="1597886"/>
            <a:ext cx="217881" cy="121275"/>
          </a:xfrm>
          <a:custGeom>
            <a:avLst/>
            <a:gdLst/>
            <a:ahLst/>
            <a:cxnLst/>
            <a:rect l="l" t="t" r="r" b="b"/>
            <a:pathLst>
              <a:path w="217881" h="161925">
                <a:moveTo>
                  <a:pt x="0" y="161925"/>
                </a:moveTo>
                <a:lnTo>
                  <a:pt x="217881" y="161925"/>
                </a:lnTo>
                <a:lnTo>
                  <a:pt x="217881" y="0"/>
                </a:lnTo>
                <a:lnTo>
                  <a:pt x="0" y="0"/>
                </a:lnTo>
                <a:lnTo>
                  <a:pt x="0" y="161925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1655192" y="1597886"/>
            <a:ext cx="217881" cy="121275"/>
          </a:xfrm>
          <a:custGeom>
            <a:avLst/>
            <a:gdLst/>
            <a:ahLst/>
            <a:cxnLst/>
            <a:rect l="l" t="t" r="r" b="b"/>
            <a:pathLst>
              <a:path w="217881" h="161925">
                <a:moveTo>
                  <a:pt x="0" y="161925"/>
                </a:moveTo>
                <a:lnTo>
                  <a:pt x="217881" y="161925"/>
                </a:lnTo>
                <a:lnTo>
                  <a:pt x="217881" y="0"/>
                </a:lnTo>
                <a:lnTo>
                  <a:pt x="0" y="0"/>
                </a:lnTo>
                <a:lnTo>
                  <a:pt x="0" y="161925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28" name="object 128"/>
          <p:cNvSpPr/>
          <p:nvPr/>
        </p:nvSpPr>
        <p:spPr>
          <a:xfrm>
            <a:off x="1946911" y="1568161"/>
            <a:ext cx="217881" cy="436353"/>
          </a:xfrm>
          <a:custGeom>
            <a:avLst/>
            <a:gdLst/>
            <a:ahLst/>
            <a:cxnLst/>
            <a:rect l="l" t="t" r="r" b="b"/>
            <a:pathLst>
              <a:path w="217881" h="582612">
                <a:moveTo>
                  <a:pt x="0" y="582612"/>
                </a:moveTo>
                <a:lnTo>
                  <a:pt x="217881" y="582612"/>
                </a:lnTo>
                <a:lnTo>
                  <a:pt x="217881" y="0"/>
                </a:lnTo>
                <a:lnTo>
                  <a:pt x="0" y="0"/>
                </a:lnTo>
                <a:lnTo>
                  <a:pt x="0" y="582612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1946911" y="1568161"/>
            <a:ext cx="217881" cy="436353"/>
          </a:xfrm>
          <a:custGeom>
            <a:avLst/>
            <a:gdLst/>
            <a:ahLst/>
            <a:cxnLst/>
            <a:rect l="l" t="t" r="r" b="b"/>
            <a:pathLst>
              <a:path w="217881" h="582612">
                <a:moveTo>
                  <a:pt x="0" y="582612"/>
                </a:moveTo>
                <a:lnTo>
                  <a:pt x="217881" y="582612"/>
                </a:lnTo>
                <a:lnTo>
                  <a:pt x="217881" y="0"/>
                </a:lnTo>
                <a:lnTo>
                  <a:pt x="0" y="0"/>
                </a:lnTo>
                <a:lnTo>
                  <a:pt x="0" y="582612"/>
                </a:lnTo>
                <a:close/>
              </a:path>
            </a:pathLst>
          </a:custGeom>
          <a:ln w="9525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0" name="object 130"/>
          <p:cNvSpPr/>
          <p:nvPr/>
        </p:nvSpPr>
        <p:spPr>
          <a:xfrm>
            <a:off x="1946911" y="2791566"/>
            <a:ext cx="217881" cy="48748"/>
          </a:xfrm>
          <a:custGeom>
            <a:avLst/>
            <a:gdLst/>
            <a:ahLst/>
            <a:cxnLst/>
            <a:rect l="l" t="t" r="r" b="b"/>
            <a:pathLst>
              <a:path w="217881" h="65088">
                <a:moveTo>
                  <a:pt x="0" y="65088"/>
                </a:moveTo>
                <a:lnTo>
                  <a:pt x="217881" y="65088"/>
                </a:lnTo>
                <a:lnTo>
                  <a:pt x="217881" y="0"/>
                </a:lnTo>
                <a:lnTo>
                  <a:pt x="0" y="0"/>
                </a:lnTo>
                <a:lnTo>
                  <a:pt x="0" y="65088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1946911" y="2791566"/>
            <a:ext cx="217881" cy="48748"/>
          </a:xfrm>
          <a:custGeom>
            <a:avLst/>
            <a:gdLst/>
            <a:ahLst/>
            <a:cxnLst/>
            <a:rect l="l" t="t" r="r" b="b"/>
            <a:pathLst>
              <a:path w="217881" h="65088">
                <a:moveTo>
                  <a:pt x="0" y="65088"/>
                </a:moveTo>
                <a:lnTo>
                  <a:pt x="217881" y="65088"/>
                </a:lnTo>
                <a:lnTo>
                  <a:pt x="217881" y="0"/>
                </a:lnTo>
                <a:lnTo>
                  <a:pt x="0" y="0"/>
                </a:lnTo>
                <a:lnTo>
                  <a:pt x="0" y="65088"/>
                </a:lnTo>
                <a:close/>
              </a:path>
            </a:pathLst>
          </a:custGeom>
          <a:ln w="9525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1946911" y="2002137"/>
            <a:ext cx="217881" cy="801368"/>
          </a:xfrm>
          <a:custGeom>
            <a:avLst/>
            <a:gdLst/>
            <a:ahLst/>
            <a:cxnLst/>
            <a:rect l="l" t="t" r="r" b="b"/>
            <a:pathLst>
              <a:path w="217881" h="1069975">
                <a:moveTo>
                  <a:pt x="0" y="1069975"/>
                </a:moveTo>
                <a:lnTo>
                  <a:pt x="217881" y="1069975"/>
                </a:lnTo>
                <a:lnTo>
                  <a:pt x="217881" y="0"/>
                </a:lnTo>
                <a:lnTo>
                  <a:pt x="0" y="0"/>
                </a:lnTo>
                <a:lnTo>
                  <a:pt x="0" y="1069975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1946911" y="2002137"/>
            <a:ext cx="217881" cy="801368"/>
          </a:xfrm>
          <a:custGeom>
            <a:avLst/>
            <a:gdLst/>
            <a:ahLst/>
            <a:cxnLst/>
            <a:rect l="l" t="t" r="r" b="b"/>
            <a:pathLst>
              <a:path w="217881" h="1069975">
                <a:moveTo>
                  <a:pt x="0" y="1069975"/>
                </a:moveTo>
                <a:lnTo>
                  <a:pt x="217881" y="1069975"/>
                </a:lnTo>
                <a:lnTo>
                  <a:pt x="217881" y="0"/>
                </a:lnTo>
                <a:lnTo>
                  <a:pt x="0" y="0"/>
                </a:lnTo>
                <a:lnTo>
                  <a:pt x="0" y="1069975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2239772" y="1568113"/>
            <a:ext cx="216700" cy="332913"/>
          </a:xfrm>
          <a:custGeom>
            <a:avLst/>
            <a:gdLst/>
            <a:ahLst/>
            <a:cxnLst/>
            <a:rect l="l" t="t" r="r" b="b"/>
            <a:pathLst>
              <a:path w="216700" h="444500">
                <a:moveTo>
                  <a:pt x="0" y="444500"/>
                </a:moveTo>
                <a:lnTo>
                  <a:pt x="216700" y="444500"/>
                </a:lnTo>
                <a:lnTo>
                  <a:pt x="216700" y="0"/>
                </a:lnTo>
                <a:lnTo>
                  <a:pt x="0" y="0"/>
                </a:lnTo>
                <a:lnTo>
                  <a:pt x="0" y="444500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2239772" y="1568114"/>
            <a:ext cx="216700" cy="363826"/>
          </a:xfrm>
          <a:custGeom>
            <a:avLst/>
            <a:gdLst/>
            <a:ahLst/>
            <a:cxnLst/>
            <a:rect l="l" t="t" r="r" b="b"/>
            <a:pathLst>
              <a:path w="216700" h="485775">
                <a:moveTo>
                  <a:pt x="0" y="485775"/>
                </a:moveTo>
                <a:lnTo>
                  <a:pt x="216700" y="485775"/>
                </a:lnTo>
                <a:lnTo>
                  <a:pt x="216700" y="0"/>
                </a:lnTo>
                <a:lnTo>
                  <a:pt x="0" y="0"/>
                </a:lnTo>
                <a:lnTo>
                  <a:pt x="0" y="485775"/>
                </a:lnTo>
                <a:close/>
              </a:path>
            </a:pathLst>
          </a:custGeom>
          <a:ln w="9525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2239772" y="1983113"/>
            <a:ext cx="216700" cy="848927"/>
          </a:xfrm>
          <a:custGeom>
            <a:avLst/>
            <a:gdLst/>
            <a:ahLst/>
            <a:cxnLst/>
            <a:rect l="l" t="t" r="r" b="b"/>
            <a:pathLst>
              <a:path w="216700" h="1133475">
                <a:moveTo>
                  <a:pt x="0" y="1133475"/>
                </a:moveTo>
                <a:lnTo>
                  <a:pt x="216700" y="1133475"/>
                </a:lnTo>
                <a:lnTo>
                  <a:pt x="216700" y="0"/>
                </a:lnTo>
                <a:lnTo>
                  <a:pt x="0" y="0"/>
                </a:lnTo>
                <a:lnTo>
                  <a:pt x="0" y="1133475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2239772" y="1983113"/>
            <a:ext cx="216700" cy="848927"/>
          </a:xfrm>
          <a:custGeom>
            <a:avLst/>
            <a:gdLst/>
            <a:ahLst/>
            <a:cxnLst/>
            <a:rect l="l" t="t" r="r" b="b"/>
            <a:pathLst>
              <a:path w="216700" h="1133475">
                <a:moveTo>
                  <a:pt x="0" y="1133475"/>
                </a:moveTo>
                <a:lnTo>
                  <a:pt x="216700" y="1133475"/>
                </a:lnTo>
                <a:lnTo>
                  <a:pt x="216700" y="0"/>
                </a:lnTo>
                <a:lnTo>
                  <a:pt x="0" y="0"/>
                </a:lnTo>
                <a:lnTo>
                  <a:pt x="0" y="1133475"/>
                </a:lnTo>
                <a:close/>
              </a:path>
            </a:pathLst>
          </a:custGeom>
          <a:ln w="9525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2239772" y="1901026"/>
            <a:ext cx="216700" cy="85606"/>
          </a:xfrm>
          <a:custGeom>
            <a:avLst/>
            <a:gdLst/>
            <a:ahLst/>
            <a:cxnLst/>
            <a:rect l="l" t="t" r="r" b="b"/>
            <a:pathLst>
              <a:path w="216700" h="114300">
                <a:moveTo>
                  <a:pt x="0" y="114300"/>
                </a:moveTo>
                <a:lnTo>
                  <a:pt x="216700" y="114300"/>
                </a:lnTo>
                <a:lnTo>
                  <a:pt x="216700" y="0"/>
                </a:lnTo>
                <a:lnTo>
                  <a:pt x="0" y="0"/>
                </a:lnTo>
                <a:lnTo>
                  <a:pt x="0" y="114300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2239772" y="1901026"/>
            <a:ext cx="216700" cy="85606"/>
          </a:xfrm>
          <a:custGeom>
            <a:avLst/>
            <a:gdLst/>
            <a:ahLst/>
            <a:cxnLst/>
            <a:rect l="l" t="t" r="r" b="b"/>
            <a:pathLst>
              <a:path w="216700" h="114300">
                <a:moveTo>
                  <a:pt x="0" y="114300"/>
                </a:moveTo>
                <a:lnTo>
                  <a:pt x="216700" y="114300"/>
                </a:lnTo>
                <a:lnTo>
                  <a:pt x="216700" y="0"/>
                </a:lnTo>
                <a:lnTo>
                  <a:pt x="0" y="0"/>
                </a:lnTo>
                <a:lnTo>
                  <a:pt x="0" y="114300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2531492" y="1568161"/>
            <a:ext cx="216687" cy="643234"/>
          </a:xfrm>
          <a:custGeom>
            <a:avLst/>
            <a:gdLst/>
            <a:ahLst/>
            <a:cxnLst/>
            <a:rect l="l" t="t" r="r" b="b"/>
            <a:pathLst>
              <a:path w="216687" h="858837">
                <a:moveTo>
                  <a:pt x="0" y="858837"/>
                </a:moveTo>
                <a:lnTo>
                  <a:pt x="216687" y="858837"/>
                </a:lnTo>
                <a:lnTo>
                  <a:pt x="216687" y="0"/>
                </a:lnTo>
                <a:lnTo>
                  <a:pt x="0" y="0"/>
                </a:lnTo>
                <a:lnTo>
                  <a:pt x="0" y="858837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2531492" y="1568161"/>
            <a:ext cx="216687" cy="693171"/>
          </a:xfrm>
          <a:custGeom>
            <a:avLst/>
            <a:gdLst/>
            <a:ahLst/>
            <a:cxnLst/>
            <a:rect l="l" t="t" r="r" b="b"/>
            <a:pathLst>
              <a:path w="216687" h="925512">
                <a:moveTo>
                  <a:pt x="0" y="925512"/>
                </a:moveTo>
                <a:lnTo>
                  <a:pt x="216687" y="925512"/>
                </a:lnTo>
                <a:lnTo>
                  <a:pt x="216687" y="0"/>
                </a:lnTo>
                <a:lnTo>
                  <a:pt x="0" y="0"/>
                </a:lnTo>
                <a:lnTo>
                  <a:pt x="0" y="925512"/>
                </a:lnTo>
                <a:close/>
              </a:path>
            </a:pathLst>
          </a:custGeom>
          <a:ln w="9525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2531492" y="2346939"/>
            <a:ext cx="216687" cy="485101"/>
          </a:xfrm>
          <a:custGeom>
            <a:avLst/>
            <a:gdLst/>
            <a:ahLst/>
            <a:cxnLst/>
            <a:rect l="l" t="t" r="r" b="b"/>
            <a:pathLst>
              <a:path w="216687" h="647700">
                <a:moveTo>
                  <a:pt x="0" y="647700"/>
                </a:moveTo>
                <a:lnTo>
                  <a:pt x="216687" y="647700"/>
                </a:lnTo>
                <a:lnTo>
                  <a:pt x="216687" y="0"/>
                </a:lnTo>
                <a:lnTo>
                  <a:pt x="0" y="0"/>
                </a:lnTo>
                <a:lnTo>
                  <a:pt x="0" y="64770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2531492" y="2346939"/>
            <a:ext cx="216687" cy="485101"/>
          </a:xfrm>
          <a:custGeom>
            <a:avLst/>
            <a:gdLst/>
            <a:ahLst/>
            <a:cxnLst/>
            <a:rect l="l" t="t" r="r" b="b"/>
            <a:pathLst>
              <a:path w="216687" h="647700">
                <a:moveTo>
                  <a:pt x="0" y="647700"/>
                </a:moveTo>
                <a:lnTo>
                  <a:pt x="216687" y="647700"/>
                </a:lnTo>
                <a:lnTo>
                  <a:pt x="216687" y="0"/>
                </a:lnTo>
                <a:lnTo>
                  <a:pt x="0" y="0"/>
                </a:lnTo>
                <a:lnTo>
                  <a:pt x="0" y="647700"/>
                </a:lnTo>
                <a:close/>
              </a:path>
            </a:pathLst>
          </a:custGeom>
          <a:ln w="9525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2531492" y="2211396"/>
            <a:ext cx="216687" cy="133165"/>
          </a:xfrm>
          <a:custGeom>
            <a:avLst/>
            <a:gdLst/>
            <a:ahLst/>
            <a:cxnLst/>
            <a:rect l="l" t="t" r="r" b="b"/>
            <a:pathLst>
              <a:path w="216687" h="177800">
                <a:moveTo>
                  <a:pt x="0" y="177800"/>
                </a:moveTo>
                <a:lnTo>
                  <a:pt x="216687" y="177800"/>
                </a:lnTo>
                <a:lnTo>
                  <a:pt x="216687" y="0"/>
                </a:lnTo>
                <a:lnTo>
                  <a:pt x="0" y="0"/>
                </a:lnTo>
                <a:lnTo>
                  <a:pt x="0" y="177800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2531492" y="2211396"/>
            <a:ext cx="216687" cy="133165"/>
          </a:xfrm>
          <a:custGeom>
            <a:avLst/>
            <a:gdLst/>
            <a:ahLst/>
            <a:cxnLst/>
            <a:rect l="l" t="t" r="r" b="b"/>
            <a:pathLst>
              <a:path w="216687" h="177800">
                <a:moveTo>
                  <a:pt x="0" y="177800"/>
                </a:moveTo>
                <a:lnTo>
                  <a:pt x="216687" y="177800"/>
                </a:lnTo>
                <a:lnTo>
                  <a:pt x="216687" y="0"/>
                </a:lnTo>
                <a:lnTo>
                  <a:pt x="0" y="0"/>
                </a:lnTo>
                <a:lnTo>
                  <a:pt x="0" y="177800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2823210" y="1580003"/>
            <a:ext cx="216700" cy="0"/>
          </a:xfrm>
          <a:custGeom>
            <a:avLst/>
            <a:gdLst/>
            <a:ahLst/>
            <a:cxnLst/>
            <a:rect l="l" t="t" r="r" b="b"/>
            <a:pathLst>
              <a:path w="216700">
                <a:moveTo>
                  <a:pt x="0" y="0"/>
                </a:moveTo>
                <a:lnTo>
                  <a:pt x="216700" y="0"/>
                </a:lnTo>
              </a:path>
            </a:pathLst>
          </a:custGeom>
          <a:ln w="33020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2823210" y="1568114"/>
            <a:ext cx="216700" cy="23779"/>
          </a:xfrm>
          <a:custGeom>
            <a:avLst/>
            <a:gdLst/>
            <a:ahLst/>
            <a:cxnLst/>
            <a:rect l="l" t="t" r="r" b="b"/>
            <a:pathLst>
              <a:path w="216700" h="31750">
                <a:moveTo>
                  <a:pt x="0" y="31750"/>
                </a:moveTo>
                <a:lnTo>
                  <a:pt x="216700" y="31750"/>
                </a:lnTo>
                <a:lnTo>
                  <a:pt x="216700" y="0"/>
                </a:lnTo>
                <a:lnTo>
                  <a:pt x="0" y="0"/>
                </a:lnTo>
                <a:lnTo>
                  <a:pt x="0" y="31750"/>
                </a:lnTo>
                <a:close/>
              </a:path>
            </a:pathLst>
          </a:custGeom>
          <a:ln w="9525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2823210" y="1597791"/>
            <a:ext cx="216700" cy="1237769"/>
          </a:xfrm>
          <a:custGeom>
            <a:avLst/>
            <a:gdLst/>
            <a:ahLst/>
            <a:cxnLst/>
            <a:rect l="l" t="t" r="r" b="b"/>
            <a:pathLst>
              <a:path w="216700" h="1652651">
                <a:moveTo>
                  <a:pt x="0" y="1652651"/>
                </a:moveTo>
                <a:lnTo>
                  <a:pt x="216700" y="1652651"/>
                </a:lnTo>
                <a:lnTo>
                  <a:pt x="216700" y="0"/>
                </a:lnTo>
                <a:lnTo>
                  <a:pt x="0" y="0"/>
                </a:lnTo>
                <a:lnTo>
                  <a:pt x="0" y="1652651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2823210" y="1597791"/>
            <a:ext cx="216700" cy="1237769"/>
          </a:xfrm>
          <a:custGeom>
            <a:avLst/>
            <a:gdLst/>
            <a:ahLst/>
            <a:cxnLst/>
            <a:rect l="l" t="t" r="r" b="b"/>
            <a:pathLst>
              <a:path w="216700" h="1652651">
                <a:moveTo>
                  <a:pt x="0" y="1652651"/>
                </a:moveTo>
                <a:lnTo>
                  <a:pt x="216700" y="1652651"/>
                </a:lnTo>
                <a:lnTo>
                  <a:pt x="216700" y="0"/>
                </a:lnTo>
                <a:lnTo>
                  <a:pt x="0" y="0"/>
                </a:lnTo>
                <a:lnTo>
                  <a:pt x="0" y="1652651"/>
                </a:lnTo>
                <a:close/>
              </a:path>
            </a:pathLst>
          </a:custGeom>
          <a:ln w="9524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0" name="object 150"/>
          <p:cNvSpPr/>
          <p:nvPr/>
        </p:nvSpPr>
        <p:spPr>
          <a:xfrm>
            <a:off x="3406522" y="1568114"/>
            <a:ext cx="217881" cy="680093"/>
          </a:xfrm>
          <a:custGeom>
            <a:avLst/>
            <a:gdLst/>
            <a:ahLst/>
            <a:cxnLst/>
            <a:rect l="l" t="t" r="r" b="b"/>
            <a:pathLst>
              <a:path w="217881" h="908050">
                <a:moveTo>
                  <a:pt x="0" y="908050"/>
                </a:moveTo>
                <a:lnTo>
                  <a:pt x="217881" y="908050"/>
                </a:lnTo>
                <a:lnTo>
                  <a:pt x="217881" y="0"/>
                </a:lnTo>
                <a:lnTo>
                  <a:pt x="0" y="0"/>
                </a:lnTo>
                <a:lnTo>
                  <a:pt x="0" y="908050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1" name="object 151"/>
          <p:cNvSpPr/>
          <p:nvPr/>
        </p:nvSpPr>
        <p:spPr>
          <a:xfrm>
            <a:off x="3406522" y="1568114"/>
            <a:ext cx="217881" cy="680093"/>
          </a:xfrm>
          <a:custGeom>
            <a:avLst/>
            <a:gdLst/>
            <a:ahLst/>
            <a:cxnLst/>
            <a:rect l="l" t="t" r="r" b="b"/>
            <a:pathLst>
              <a:path w="217881" h="908050">
                <a:moveTo>
                  <a:pt x="0" y="908050"/>
                </a:moveTo>
                <a:lnTo>
                  <a:pt x="217881" y="908050"/>
                </a:lnTo>
                <a:lnTo>
                  <a:pt x="217881" y="0"/>
                </a:lnTo>
                <a:lnTo>
                  <a:pt x="0" y="0"/>
                </a:lnTo>
                <a:lnTo>
                  <a:pt x="0" y="908050"/>
                </a:lnTo>
                <a:close/>
              </a:path>
            </a:pathLst>
          </a:custGeom>
          <a:ln w="9524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3406522" y="2505025"/>
            <a:ext cx="217881" cy="340046"/>
          </a:xfrm>
          <a:custGeom>
            <a:avLst/>
            <a:gdLst/>
            <a:ahLst/>
            <a:cxnLst/>
            <a:rect l="l" t="t" r="r" b="b"/>
            <a:pathLst>
              <a:path w="217881" h="454025">
                <a:moveTo>
                  <a:pt x="0" y="454025"/>
                </a:moveTo>
                <a:lnTo>
                  <a:pt x="217881" y="454025"/>
                </a:lnTo>
                <a:lnTo>
                  <a:pt x="217881" y="0"/>
                </a:lnTo>
                <a:lnTo>
                  <a:pt x="0" y="0"/>
                </a:lnTo>
                <a:lnTo>
                  <a:pt x="0" y="454025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3406522" y="2505025"/>
            <a:ext cx="217881" cy="340046"/>
          </a:xfrm>
          <a:custGeom>
            <a:avLst/>
            <a:gdLst/>
            <a:ahLst/>
            <a:cxnLst/>
            <a:rect l="l" t="t" r="r" b="b"/>
            <a:pathLst>
              <a:path w="217881" h="454025">
                <a:moveTo>
                  <a:pt x="0" y="454025"/>
                </a:moveTo>
                <a:lnTo>
                  <a:pt x="217881" y="454025"/>
                </a:lnTo>
                <a:lnTo>
                  <a:pt x="217881" y="0"/>
                </a:lnTo>
                <a:lnTo>
                  <a:pt x="0" y="0"/>
                </a:lnTo>
                <a:lnTo>
                  <a:pt x="0" y="454025"/>
                </a:lnTo>
                <a:close/>
              </a:path>
            </a:pathLst>
          </a:custGeom>
          <a:ln w="9525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3406522" y="2247017"/>
            <a:ext cx="217881" cy="267519"/>
          </a:xfrm>
          <a:custGeom>
            <a:avLst/>
            <a:gdLst/>
            <a:ahLst/>
            <a:cxnLst/>
            <a:rect l="l" t="t" r="r" b="b"/>
            <a:pathLst>
              <a:path w="217881" h="357187">
                <a:moveTo>
                  <a:pt x="0" y="357187"/>
                </a:moveTo>
                <a:lnTo>
                  <a:pt x="217881" y="357187"/>
                </a:lnTo>
                <a:lnTo>
                  <a:pt x="217881" y="0"/>
                </a:lnTo>
                <a:lnTo>
                  <a:pt x="0" y="0"/>
                </a:lnTo>
                <a:lnTo>
                  <a:pt x="0" y="357187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5" name="object 155"/>
          <p:cNvSpPr/>
          <p:nvPr/>
        </p:nvSpPr>
        <p:spPr>
          <a:xfrm>
            <a:off x="3406522" y="2247017"/>
            <a:ext cx="217881" cy="267519"/>
          </a:xfrm>
          <a:custGeom>
            <a:avLst/>
            <a:gdLst/>
            <a:ahLst/>
            <a:cxnLst/>
            <a:rect l="l" t="t" r="r" b="b"/>
            <a:pathLst>
              <a:path w="217881" h="357187">
                <a:moveTo>
                  <a:pt x="0" y="357187"/>
                </a:moveTo>
                <a:lnTo>
                  <a:pt x="217881" y="357187"/>
                </a:lnTo>
                <a:lnTo>
                  <a:pt x="217881" y="0"/>
                </a:lnTo>
                <a:lnTo>
                  <a:pt x="0" y="0"/>
                </a:lnTo>
                <a:lnTo>
                  <a:pt x="0" y="357187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6" name="object 156"/>
          <p:cNvSpPr/>
          <p:nvPr/>
        </p:nvSpPr>
        <p:spPr>
          <a:xfrm>
            <a:off x="1009841" y="2847449"/>
            <a:ext cx="2672905" cy="1236"/>
          </a:xfrm>
          <a:custGeom>
            <a:avLst/>
            <a:gdLst/>
            <a:ahLst/>
            <a:cxnLst/>
            <a:rect l="l" t="t" r="r" b="b"/>
            <a:pathLst>
              <a:path w="2672905" h="1650">
                <a:moveTo>
                  <a:pt x="2672905" y="0"/>
                </a:moveTo>
                <a:lnTo>
                  <a:pt x="0" y="1650"/>
                </a:lnTo>
              </a:path>
            </a:pathLst>
          </a:custGeom>
          <a:ln w="19049">
            <a:solidFill>
              <a:srgbClr val="001F5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7" name="object 157"/>
          <p:cNvSpPr/>
          <p:nvPr/>
        </p:nvSpPr>
        <p:spPr>
          <a:xfrm>
            <a:off x="5170679" y="1553846"/>
            <a:ext cx="1143" cy="1286469"/>
          </a:xfrm>
          <a:custGeom>
            <a:avLst/>
            <a:gdLst/>
            <a:ahLst/>
            <a:cxnLst/>
            <a:rect l="l" t="t" r="r" b="b"/>
            <a:pathLst>
              <a:path w="1143" h="1717675">
                <a:moveTo>
                  <a:pt x="0" y="0"/>
                </a:moveTo>
                <a:lnTo>
                  <a:pt x="1143" y="1717675"/>
                </a:lnTo>
              </a:path>
            </a:pathLst>
          </a:custGeom>
          <a:ln w="19050">
            <a:solidFill>
              <a:srgbClr val="9A8A7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8" name="object 158"/>
          <p:cNvSpPr/>
          <p:nvPr/>
        </p:nvSpPr>
        <p:spPr>
          <a:xfrm>
            <a:off x="5148073" y="2578741"/>
            <a:ext cx="23749" cy="0"/>
          </a:xfrm>
          <a:custGeom>
            <a:avLst/>
            <a:gdLst/>
            <a:ahLst/>
            <a:cxnLst/>
            <a:rect l="l" t="t" r="r" b="b"/>
            <a:pathLst>
              <a:path w="23749">
                <a:moveTo>
                  <a:pt x="0" y="0"/>
                </a:moveTo>
                <a:lnTo>
                  <a:pt x="23749" y="0"/>
                </a:lnTo>
              </a:path>
            </a:pathLst>
          </a:custGeom>
          <a:ln w="19050">
            <a:solidFill>
              <a:srgbClr val="9A8A7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9" name="object 159"/>
          <p:cNvSpPr/>
          <p:nvPr/>
        </p:nvSpPr>
        <p:spPr>
          <a:xfrm>
            <a:off x="5148073" y="2835559"/>
            <a:ext cx="23749" cy="0"/>
          </a:xfrm>
          <a:custGeom>
            <a:avLst/>
            <a:gdLst/>
            <a:ahLst/>
            <a:cxnLst/>
            <a:rect l="l" t="t" r="r" b="b"/>
            <a:pathLst>
              <a:path w="23749">
                <a:moveTo>
                  <a:pt x="0" y="0"/>
                </a:moveTo>
                <a:lnTo>
                  <a:pt x="23749" y="0"/>
                </a:lnTo>
              </a:path>
            </a:pathLst>
          </a:custGeom>
          <a:ln w="19050">
            <a:solidFill>
              <a:srgbClr val="9A8A7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5148073" y="2325537"/>
            <a:ext cx="23749" cy="0"/>
          </a:xfrm>
          <a:custGeom>
            <a:avLst/>
            <a:gdLst/>
            <a:ahLst/>
            <a:cxnLst/>
            <a:rect l="l" t="t" r="r" b="b"/>
            <a:pathLst>
              <a:path w="23749">
                <a:moveTo>
                  <a:pt x="0" y="0"/>
                </a:moveTo>
                <a:lnTo>
                  <a:pt x="23749" y="0"/>
                </a:lnTo>
              </a:path>
            </a:pathLst>
          </a:custGeom>
          <a:ln w="19050">
            <a:solidFill>
              <a:srgbClr val="9A8A7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1" name="object 161"/>
          <p:cNvSpPr/>
          <p:nvPr/>
        </p:nvSpPr>
        <p:spPr>
          <a:xfrm>
            <a:off x="5148073" y="2069860"/>
            <a:ext cx="23749" cy="0"/>
          </a:xfrm>
          <a:custGeom>
            <a:avLst/>
            <a:gdLst/>
            <a:ahLst/>
            <a:cxnLst/>
            <a:rect l="l" t="t" r="r" b="b"/>
            <a:pathLst>
              <a:path w="23749">
                <a:moveTo>
                  <a:pt x="0" y="0"/>
                </a:moveTo>
                <a:lnTo>
                  <a:pt x="23749" y="0"/>
                </a:lnTo>
              </a:path>
            </a:pathLst>
          </a:custGeom>
          <a:ln w="19050">
            <a:solidFill>
              <a:srgbClr val="9A8A7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2" name="object 162"/>
          <p:cNvSpPr/>
          <p:nvPr/>
        </p:nvSpPr>
        <p:spPr>
          <a:xfrm>
            <a:off x="5148073" y="1815420"/>
            <a:ext cx="23749" cy="0"/>
          </a:xfrm>
          <a:custGeom>
            <a:avLst/>
            <a:gdLst/>
            <a:ahLst/>
            <a:cxnLst/>
            <a:rect l="l" t="t" r="r" b="b"/>
            <a:pathLst>
              <a:path w="23749">
                <a:moveTo>
                  <a:pt x="0" y="0"/>
                </a:moveTo>
                <a:lnTo>
                  <a:pt x="23749" y="0"/>
                </a:lnTo>
              </a:path>
            </a:pathLst>
          </a:custGeom>
          <a:ln w="19050">
            <a:solidFill>
              <a:srgbClr val="9A8A7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3" name="object 163"/>
          <p:cNvSpPr/>
          <p:nvPr/>
        </p:nvSpPr>
        <p:spPr>
          <a:xfrm>
            <a:off x="5148073" y="1559838"/>
            <a:ext cx="23749" cy="0"/>
          </a:xfrm>
          <a:custGeom>
            <a:avLst/>
            <a:gdLst/>
            <a:ahLst/>
            <a:cxnLst/>
            <a:rect l="l" t="t" r="r" b="b"/>
            <a:pathLst>
              <a:path w="23749">
                <a:moveTo>
                  <a:pt x="0" y="0"/>
                </a:moveTo>
                <a:lnTo>
                  <a:pt x="23749" y="0"/>
                </a:lnTo>
              </a:path>
            </a:pathLst>
          </a:custGeom>
          <a:ln w="19050">
            <a:solidFill>
              <a:srgbClr val="9A8A7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4" name="object 164"/>
          <p:cNvSpPr/>
          <p:nvPr/>
        </p:nvSpPr>
        <p:spPr>
          <a:xfrm>
            <a:off x="7274560" y="1571728"/>
            <a:ext cx="217881" cy="266330"/>
          </a:xfrm>
          <a:custGeom>
            <a:avLst/>
            <a:gdLst/>
            <a:ahLst/>
            <a:cxnLst/>
            <a:rect l="l" t="t" r="r" b="b"/>
            <a:pathLst>
              <a:path w="217881" h="355600">
                <a:moveTo>
                  <a:pt x="0" y="355600"/>
                </a:moveTo>
                <a:lnTo>
                  <a:pt x="217881" y="355600"/>
                </a:lnTo>
                <a:lnTo>
                  <a:pt x="217881" y="0"/>
                </a:lnTo>
                <a:lnTo>
                  <a:pt x="0" y="0"/>
                </a:lnTo>
                <a:lnTo>
                  <a:pt x="0" y="355600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7274560" y="1571728"/>
            <a:ext cx="217881" cy="266330"/>
          </a:xfrm>
          <a:custGeom>
            <a:avLst/>
            <a:gdLst/>
            <a:ahLst/>
            <a:cxnLst/>
            <a:rect l="l" t="t" r="r" b="b"/>
            <a:pathLst>
              <a:path w="217881" h="355600">
                <a:moveTo>
                  <a:pt x="0" y="355600"/>
                </a:moveTo>
                <a:lnTo>
                  <a:pt x="217881" y="355600"/>
                </a:lnTo>
                <a:lnTo>
                  <a:pt x="217881" y="0"/>
                </a:lnTo>
                <a:lnTo>
                  <a:pt x="0" y="0"/>
                </a:lnTo>
                <a:lnTo>
                  <a:pt x="0" y="355600"/>
                </a:lnTo>
                <a:close/>
              </a:path>
            </a:pathLst>
          </a:custGeom>
          <a:ln w="9525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7274560" y="1845097"/>
            <a:ext cx="217881" cy="995219"/>
          </a:xfrm>
          <a:custGeom>
            <a:avLst/>
            <a:gdLst/>
            <a:ahLst/>
            <a:cxnLst/>
            <a:rect l="l" t="t" r="r" b="b"/>
            <a:pathLst>
              <a:path w="217881" h="1328801">
                <a:moveTo>
                  <a:pt x="0" y="1328801"/>
                </a:moveTo>
                <a:lnTo>
                  <a:pt x="217881" y="1328801"/>
                </a:lnTo>
                <a:lnTo>
                  <a:pt x="217881" y="0"/>
                </a:lnTo>
                <a:lnTo>
                  <a:pt x="0" y="0"/>
                </a:lnTo>
                <a:lnTo>
                  <a:pt x="0" y="1328801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7" name="object 167"/>
          <p:cNvSpPr/>
          <p:nvPr/>
        </p:nvSpPr>
        <p:spPr>
          <a:xfrm>
            <a:off x="7274560" y="1845097"/>
            <a:ext cx="217881" cy="995219"/>
          </a:xfrm>
          <a:custGeom>
            <a:avLst/>
            <a:gdLst/>
            <a:ahLst/>
            <a:cxnLst/>
            <a:rect l="l" t="t" r="r" b="b"/>
            <a:pathLst>
              <a:path w="217881" h="1328801">
                <a:moveTo>
                  <a:pt x="0" y="1328801"/>
                </a:moveTo>
                <a:lnTo>
                  <a:pt x="217881" y="1328801"/>
                </a:lnTo>
                <a:lnTo>
                  <a:pt x="217881" y="0"/>
                </a:lnTo>
                <a:lnTo>
                  <a:pt x="0" y="0"/>
                </a:lnTo>
                <a:lnTo>
                  <a:pt x="0" y="1328801"/>
                </a:lnTo>
                <a:close/>
              </a:path>
            </a:pathLst>
          </a:custGeom>
          <a:ln w="9525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8" name="object 168"/>
          <p:cNvSpPr/>
          <p:nvPr/>
        </p:nvSpPr>
        <p:spPr>
          <a:xfrm>
            <a:off x="5523104" y="1571681"/>
            <a:ext cx="216687" cy="79708"/>
          </a:xfrm>
          <a:custGeom>
            <a:avLst/>
            <a:gdLst/>
            <a:ahLst/>
            <a:cxnLst/>
            <a:rect l="l" t="t" r="r" b="b"/>
            <a:pathLst>
              <a:path w="216687" h="106425">
                <a:moveTo>
                  <a:pt x="0" y="106425"/>
                </a:moveTo>
                <a:lnTo>
                  <a:pt x="216687" y="106425"/>
                </a:lnTo>
                <a:lnTo>
                  <a:pt x="216687" y="0"/>
                </a:lnTo>
                <a:lnTo>
                  <a:pt x="0" y="0"/>
                </a:lnTo>
                <a:lnTo>
                  <a:pt x="0" y="106425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5523104" y="1571681"/>
            <a:ext cx="216687" cy="96306"/>
          </a:xfrm>
          <a:custGeom>
            <a:avLst/>
            <a:gdLst/>
            <a:ahLst/>
            <a:cxnLst/>
            <a:rect l="l" t="t" r="r" b="b"/>
            <a:pathLst>
              <a:path w="216687" h="128587">
                <a:moveTo>
                  <a:pt x="0" y="128587"/>
                </a:moveTo>
                <a:lnTo>
                  <a:pt x="216687" y="128587"/>
                </a:lnTo>
                <a:lnTo>
                  <a:pt x="216687" y="0"/>
                </a:lnTo>
                <a:lnTo>
                  <a:pt x="0" y="0"/>
                </a:lnTo>
                <a:lnTo>
                  <a:pt x="0" y="128587"/>
                </a:lnTo>
                <a:close/>
              </a:path>
            </a:pathLst>
          </a:custGeom>
          <a:ln w="9525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0" name="object 170"/>
          <p:cNvSpPr/>
          <p:nvPr/>
        </p:nvSpPr>
        <p:spPr>
          <a:xfrm>
            <a:off x="5523104" y="1651389"/>
            <a:ext cx="216687" cy="398259"/>
          </a:xfrm>
          <a:custGeom>
            <a:avLst/>
            <a:gdLst/>
            <a:ahLst/>
            <a:cxnLst/>
            <a:rect l="l" t="t" r="r" b="b"/>
            <a:pathLst>
              <a:path w="216687" h="531749">
                <a:moveTo>
                  <a:pt x="0" y="531749"/>
                </a:moveTo>
                <a:lnTo>
                  <a:pt x="216687" y="531749"/>
                </a:lnTo>
                <a:lnTo>
                  <a:pt x="216687" y="0"/>
                </a:lnTo>
                <a:lnTo>
                  <a:pt x="0" y="0"/>
                </a:lnTo>
                <a:lnTo>
                  <a:pt x="0" y="531749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1" name="object 171"/>
          <p:cNvSpPr/>
          <p:nvPr/>
        </p:nvSpPr>
        <p:spPr>
          <a:xfrm>
            <a:off x="5523104" y="1651389"/>
            <a:ext cx="216687" cy="412573"/>
          </a:xfrm>
          <a:custGeom>
            <a:avLst/>
            <a:gdLst/>
            <a:ahLst/>
            <a:cxnLst/>
            <a:rect l="l" t="t" r="r" b="b"/>
            <a:pathLst>
              <a:path w="216687" h="550862">
                <a:moveTo>
                  <a:pt x="0" y="550862"/>
                </a:moveTo>
                <a:lnTo>
                  <a:pt x="216687" y="550862"/>
                </a:lnTo>
                <a:lnTo>
                  <a:pt x="216687" y="0"/>
                </a:lnTo>
                <a:lnTo>
                  <a:pt x="0" y="0"/>
                </a:lnTo>
                <a:lnTo>
                  <a:pt x="0" y="550862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5523104" y="2049648"/>
            <a:ext cx="216687" cy="788289"/>
          </a:xfrm>
          <a:custGeom>
            <a:avLst/>
            <a:gdLst/>
            <a:ahLst/>
            <a:cxnLst/>
            <a:rect l="l" t="t" r="r" b="b"/>
            <a:pathLst>
              <a:path w="216687" h="1052512">
                <a:moveTo>
                  <a:pt x="0" y="1052512"/>
                </a:moveTo>
                <a:lnTo>
                  <a:pt x="216687" y="1052512"/>
                </a:lnTo>
                <a:lnTo>
                  <a:pt x="216687" y="0"/>
                </a:lnTo>
                <a:lnTo>
                  <a:pt x="0" y="0"/>
                </a:lnTo>
                <a:lnTo>
                  <a:pt x="0" y="1052512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5523104" y="2049648"/>
            <a:ext cx="216687" cy="788289"/>
          </a:xfrm>
          <a:custGeom>
            <a:avLst/>
            <a:gdLst/>
            <a:ahLst/>
            <a:cxnLst/>
            <a:rect l="l" t="t" r="r" b="b"/>
            <a:pathLst>
              <a:path w="216687" h="1052512">
                <a:moveTo>
                  <a:pt x="0" y="1052512"/>
                </a:moveTo>
                <a:lnTo>
                  <a:pt x="216687" y="1052512"/>
                </a:lnTo>
                <a:lnTo>
                  <a:pt x="216687" y="0"/>
                </a:lnTo>
                <a:lnTo>
                  <a:pt x="0" y="0"/>
                </a:lnTo>
                <a:lnTo>
                  <a:pt x="0" y="1052512"/>
                </a:lnTo>
                <a:close/>
              </a:path>
            </a:pathLst>
          </a:custGeom>
          <a:ln w="9525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4" name="object 174"/>
          <p:cNvSpPr/>
          <p:nvPr/>
        </p:nvSpPr>
        <p:spPr>
          <a:xfrm>
            <a:off x="5230242" y="1571680"/>
            <a:ext cx="217881" cy="752620"/>
          </a:xfrm>
          <a:custGeom>
            <a:avLst/>
            <a:gdLst/>
            <a:ahLst/>
            <a:cxnLst/>
            <a:rect l="l" t="t" r="r" b="b"/>
            <a:pathLst>
              <a:path w="217881" h="1004887">
                <a:moveTo>
                  <a:pt x="0" y="1004887"/>
                </a:moveTo>
                <a:lnTo>
                  <a:pt x="217881" y="1004887"/>
                </a:lnTo>
                <a:lnTo>
                  <a:pt x="217881" y="0"/>
                </a:lnTo>
                <a:lnTo>
                  <a:pt x="0" y="0"/>
                </a:lnTo>
                <a:lnTo>
                  <a:pt x="0" y="1004887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5230242" y="1571680"/>
            <a:ext cx="217881" cy="752620"/>
          </a:xfrm>
          <a:custGeom>
            <a:avLst/>
            <a:gdLst/>
            <a:ahLst/>
            <a:cxnLst/>
            <a:rect l="l" t="t" r="r" b="b"/>
            <a:pathLst>
              <a:path w="217881" h="1004887">
                <a:moveTo>
                  <a:pt x="0" y="1004887"/>
                </a:moveTo>
                <a:lnTo>
                  <a:pt x="217881" y="1004887"/>
                </a:lnTo>
                <a:lnTo>
                  <a:pt x="217881" y="0"/>
                </a:lnTo>
                <a:lnTo>
                  <a:pt x="0" y="0"/>
                </a:lnTo>
                <a:lnTo>
                  <a:pt x="0" y="1004887"/>
                </a:lnTo>
                <a:close/>
              </a:path>
            </a:pathLst>
          </a:custGeom>
          <a:ln w="9525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5230242" y="2324348"/>
            <a:ext cx="217881" cy="193802"/>
          </a:xfrm>
          <a:custGeom>
            <a:avLst/>
            <a:gdLst/>
            <a:ahLst/>
            <a:cxnLst/>
            <a:rect l="l" t="t" r="r" b="b"/>
            <a:pathLst>
              <a:path w="217881" h="258762">
                <a:moveTo>
                  <a:pt x="0" y="258762"/>
                </a:moveTo>
                <a:lnTo>
                  <a:pt x="217881" y="258762"/>
                </a:lnTo>
                <a:lnTo>
                  <a:pt x="217881" y="0"/>
                </a:lnTo>
                <a:lnTo>
                  <a:pt x="0" y="0"/>
                </a:lnTo>
                <a:lnTo>
                  <a:pt x="0" y="258762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7" name="object 177"/>
          <p:cNvSpPr/>
          <p:nvPr/>
        </p:nvSpPr>
        <p:spPr>
          <a:xfrm>
            <a:off x="5230242" y="2324348"/>
            <a:ext cx="217881" cy="193802"/>
          </a:xfrm>
          <a:custGeom>
            <a:avLst/>
            <a:gdLst/>
            <a:ahLst/>
            <a:cxnLst/>
            <a:rect l="l" t="t" r="r" b="b"/>
            <a:pathLst>
              <a:path w="217881" h="258762">
                <a:moveTo>
                  <a:pt x="0" y="258762"/>
                </a:moveTo>
                <a:lnTo>
                  <a:pt x="217881" y="258762"/>
                </a:lnTo>
                <a:lnTo>
                  <a:pt x="217881" y="0"/>
                </a:lnTo>
                <a:lnTo>
                  <a:pt x="0" y="0"/>
                </a:lnTo>
                <a:lnTo>
                  <a:pt x="0" y="258762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5230242" y="2524096"/>
            <a:ext cx="217881" cy="315078"/>
          </a:xfrm>
          <a:custGeom>
            <a:avLst/>
            <a:gdLst/>
            <a:ahLst/>
            <a:cxnLst/>
            <a:rect l="l" t="t" r="r" b="b"/>
            <a:pathLst>
              <a:path w="217881" h="420687">
                <a:moveTo>
                  <a:pt x="0" y="420687"/>
                </a:moveTo>
                <a:lnTo>
                  <a:pt x="217881" y="420687"/>
                </a:lnTo>
                <a:lnTo>
                  <a:pt x="217881" y="0"/>
                </a:lnTo>
                <a:lnTo>
                  <a:pt x="0" y="0"/>
                </a:lnTo>
                <a:lnTo>
                  <a:pt x="0" y="420687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9" name="object 179"/>
          <p:cNvSpPr/>
          <p:nvPr/>
        </p:nvSpPr>
        <p:spPr>
          <a:xfrm>
            <a:off x="5230242" y="2524096"/>
            <a:ext cx="217881" cy="315078"/>
          </a:xfrm>
          <a:custGeom>
            <a:avLst/>
            <a:gdLst/>
            <a:ahLst/>
            <a:cxnLst/>
            <a:rect l="l" t="t" r="r" b="b"/>
            <a:pathLst>
              <a:path w="217881" h="420687">
                <a:moveTo>
                  <a:pt x="0" y="420687"/>
                </a:moveTo>
                <a:lnTo>
                  <a:pt x="217881" y="420687"/>
                </a:lnTo>
                <a:lnTo>
                  <a:pt x="217881" y="0"/>
                </a:lnTo>
                <a:lnTo>
                  <a:pt x="0" y="0"/>
                </a:lnTo>
                <a:lnTo>
                  <a:pt x="0" y="420687"/>
                </a:lnTo>
                <a:close/>
              </a:path>
            </a:pathLst>
          </a:custGeom>
          <a:ln w="9525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0" name="object 180"/>
          <p:cNvSpPr/>
          <p:nvPr/>
        </p:nvSpPr>
        <p:spPr>
          <a:xfrm>
            <a:off x="5814823" y="1571680"/>
            <a:ext cx="216687" cy="299621"/>
          </a:xfrm>
          <a:custGeom>
            <a:avLst/>
            <a:gdLst/>
            <a:ahLst/>
            <a:cxnLst/>
            <a:rect l="l" t="t" r="r" b="b"/>
            <a:pathLst>
              <a:path w="216687" h="400050">
                <a:moveTo>
                  <a:pt x="0" y="400050"/>
                </a:moveTo>
                <a:lnTo>
                  <a:pt x="216687" y="400050"/>
                </a:lnTo>
                <a:lnTo>
                  <a:pt x="216687" y="0"/>
                </a:lnTo>
                <a:lnTo>
                  <a:pt x="0" y="0"/>
                </a:lnTo>
                <a:lnTo>
                  <a:pt x="0" y="400050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1" name="object 181"/>
          <p:cNvSpPr/>
          <p:nvPr/>
        </p:nvSpPr>
        <p:spPr>
          <a:xfrm>
            <a:off x="5814823" y="1571680"/>
            <a:ext cx="216687" cy="315078"/>
          </a:xfrm>
          <a:custGeom>
            <a:avLst/>
            <a:gdLst/>
            <a:ahLst/>
            <a:cxnLst/>
            <a:rect l="l" t="t" r="r" b="b"/>
            <a:pathLst>
              <a:path w="216687" h="420687">
                <a:moveTo>
                  <a:pt x="0" y="420687"/>
                </a:moveTo>
                <a:lnTo>
                  <a:pt x="216687" y="420687"/>
                </a:lnTo>
                <a:lnTo>
                  <a:pt x="216687" y="0"/>
                </a:lnTo>
                <a:lnTo>
                  <a:pt x="0" y="0"/>
                </a:lnTo>
                <a:lnTo>
                  <a:pt x="0" y="420687"/>
                </a:lnTo>
                <a:close/>
              </a:path>
            </a:pathLst>
          </a:custGeom>
          <a:ln w="9525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2" name="object 182"/>
          <p:cNvSpPr/>
          <p:nvPr/>
        </p:nvSpPr>
        <p:spPr>
          <a:xfrm>
            <a:off x="5814823" y="1871302"/>
            <a:ext cx="216687" cy="64205"/>
          </a:xfrm>
          <a:custGeom>
            <a:avLst/>
            <a:gdLst/>
            <a:ahLst/>
            <a:cxnLst/>
            <a:rect l="l" t="t" r="r" b="b"/>
            <a:pathLst>
              <a:path w="216687" h="85725">
                <a:moveTo>
                  <a:pt x="0" y="85725"/>
                </a:moveTo>
                <a:lnTo>
                  <a:pt x="216687" y="85725"/>
                </a:lnTo>
                <a:lnTo>
                  <a:pt x="216687" y="0"/>
                </a:lnTo>
                <a:lnTo>
                  <a:pt x="0" y="0"/>
                </a:lnTo>
                <a:lnTo>
                  <a:pt x="0" y="85725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3" name="object 183"/>
          <p:cNvSpPr/>
          <p:nvPr/>
        </p:nvSpPr>
        <p:spPr>
          <a:xfrm>
            <a:off x="5814823" y="1871301"/>
            <a:ext cx="216687" cy="170023"/>
          </a:xfrm>
          <a:custGeom>
            <a:avLst/>
            <a:gdLst/>
            <a:ahLst/>
            <a:cxnLst/>
            <a:rect l="l" t="t" r="r" b="b"/>
            <a:pathLst>
              <a:path w="216687" h="227012">
                <a:moveTo>
                  <a:pt x="0" y="227012"/>
                </a:moveTo>
                <a:lnTo>
                  <a:pt x="216687" y="227012"/>
                </a:lnTo>
                <a:lnTo>
                  <a:pt x="216687" y="0"/>
                </a:lnTo>
                <a:lnTo>
                  <a:pt x="0" y="0"/>
                </a:lnTo>
                <a:lnTo>
                  <a:pt x="0" y="227012"/>
                </a:lnTo>
                <a:close/>
              </a:path>
            </a:pathLst>
          </a:custGeom>
          <a:ln w="9524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4" name="object 184"/>
          <p:cNvSpPr/>
          <p:nvPr/>
        </p:nvSpPr>
        <p:spPr>
          <a:xfrm>
            <a:off x="5814823" y="1935506"/>
            <a:ext cx="216687" cy="897675"/>
          </a:xfrm>
          <a:custGeom>
            <a:avLst/>
            <a:gdLst/>
            <a:ahLst/>
            <a:cxnLst/>
            <a:rect l="l" t="t" r="r" b="b"/>
            <a:pathLst>
              <a:path w="216687" h="1198562">
                <a:moveTo>
                  <a:pt x="0" y="1198562"/>
                </a:moveTo>
                <a:lnTo>
                  <a:pt x="216687" y="1198562"/>
                </a:lnTo>
                <a:lnTo>
                  <a:pt x="216687" y="0"/>
                </a:lnTo>
                <a:lnTo>
                  <a:pt x="0" y="0"/>
                </a:lnTo>
                <a:lnTo>
                  <a:pt x="0" y="1198562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5" name="object 185"/>
          <p:cNvSpPr/>
          <p:nvPr/>
        </p:nvSpPr>
        <p:spPr>
          <a:xfrm>
            <a:off x="5814823" y="1935506"/>
            <a:ext cx="216687" cy="897675"/>
          </a:xfrm>
          <a:custGeom>
            <a:avLst/>
            <a:gdLst/>
            <a:ahLst/>
            <a:cxnLst/>
            <a:rect l="l" t="t" r="r" b="b"/>
            <a:pathLst>
              <a:path w="216687" h="1198562">
                <a:moveTo>
                  <a:pt x="0" y="1198562"/>
                </a:moveTo>
                <a:lnTo>
                  <a:pt x="216687" y="1198562"/>
                </a:lnTo>
                <a:lnTo>
                  <a:pt x="216687" y="0"/>
                </a:lnTo>
                <a:lnTo>
                  <a:pt x="0" y="0"/>
                </a:lnTo>
                <a:lnTo>
                  <a:pt x="0" y="1198562"/>
                </a:lnTo>
                <a:close/>
              </a:path>
            </a:pathLst>
          </a:custGeom>
          <a:ln w="9524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6" name="object 186"/>
          <p:cNvSpPr/>
          <p:nvPr/>
        </p:nvSpPr>
        <p:spPr>
          <a:xfrm>
            <a:off x="6106542" y="1571680"/>
            <a:ext cx="217881" cy="193802"/>
          </a:xfrm>
          <a:custGeom>
            <a:avLst/>
            <a:gdLst/>
            <a:ahLst/>
            <a:cxnLst/>
            <a:rect l="l" t="t" r="r" b="b"/>
            <a:pathLst>
              <a:path w="217881" h="258762">
                <a:moveTo>
                  <a:pt x="0" y="258762"/>
                </a:moveTo>
                <a:lnTo>
                  <a:pt x="217881" y="258762"/>
                </a:lnTo>
                <a:lnTo>
                  <a:pt x="217881" y="0"/>
                </a:lnTo>
                <a:lnTo>
                  <a:pt x="0" y="0"/>
                </a:lnTo>
                <a:lnTo>
                  <a:pt x="0" y="258762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7" name="object 187"/>
          <p:cNvSpPr/>
          <p:nvPr/>
        </p:nvSpPr>
        <p:spPr>
          <a:xfrm>
            <a:off x="6106542" y="1571680"/>
            <a:ext cx="217881" cy="193802"/>
          </a:xfrm>
          <a:custGeom>
            <a:avLst/>
            <a:gdLst/>
            <a:ahLst/>
            <a:cxnLst/>
            <a:rect l="l" t="t" r="r" b="b"/>
            <a:pathLst>
              <a:path w="217881" h="258762">
                <a:moveTo>
                  <a:pt x="0" y="258762"/>
                </a:moveTo>
                <a:lnTo>
                  <a:pt x="217881" y="258762"/>
                </a:lnTo>
                <a:lnTo>
                  <a:pt x="217881" y="0"/>
                </a:lnTo>
                <a:lnTo>
                  <a:pt x="0" y="0"/>
                </a:lnTo>
                <a:lnTo>
                  <a:pt x="0" y="258762"/>
                </a:lnTo>
                <a:close/>
              </a:path>
            </a:pathLst>
          </a:custGeom>
          <a:ln w="9525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8" name="object 188"/>
          <p:cNvSpPr/>
          <p:nvPr/>
        </p:nvSpPr>
        <p:spPr>
          <a:xfrm>
            <a:off x="6106542" y="1751263"/>
            <a:ext cx="217881" cy="854824"/>
          </a:xfrm>
          <a:custGeom>
            <a:avLst/>
            <a:gdLst/>
            <a:ahLst/>
            <a:cxnLst/>
            <a:rect l="l" t="t" r="r" b="b"/>
            <a:pathLst>
              <a:path w="217881" h="1141349">
                <a:moveTo>
                  <a:pt x="0" y="1141349"/>
                </a:moveTo>
                <a:lnTo>
                  <a:pt x="217881" y="1141349"/>
                </a:lnTo>
                <a:lnTo>
                  <a:pt x="217881" y="0"/>
                </a:lnTo>
                <a:lnTo>
                  <a:pt x="0" y="0"/>
                </a:lnTo>
                <a:lnTo>
                  <a:pt x="0" y="1141349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9" name="object 189"/>
          <p:cNvSpPr/>
          <p:nvPr/>
        </p:nvSpPr>
        <p:spPr>
          <a:xfrm>
            <a:off x="6106542" y="1751263"/>
            <a:ext cx="217881" cy="873895"/>
          </a:xfrm>
          <a:custGeom>
            <a:avLst/>
            <a:gdLst/>
            <a:ahLst/>
            <a:cxnLst/>
            <a:rect l="l" t="t" r="r" b="b"/>
            <a:pathLst>
              <a:path w="217881" h="1166812">
                <a:moveTo>
                  <a:pt x="0" y="1166812"/>
                </a:moveTo>
                <a:lnTo>
                  <a:pt x="217881" y="1166812"/>
                </a:lnTo>
                <a:lnTo>
                  <a:pt x="217881" y="0"/>
                </a:lnTo>
                <a:lnTo>
                  <a:pt x="0" y="0"/>
                </a:lnTo>
                <a:lnTo>
                  <a:pt x="0" y="1166812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0" name="object 190"/>
          <p:cNvSpPr/>
          <p:nvPr/>
        </p:nvSpPr>
        <p:spPr>
          <a:xfrm>
            <a:off x="6106542" y="2606087"/>
            <a:ext cx="217881" cy="229472"/>
          </a:xfrm>
          <a:custGeom>
            <a:avLst/>
            <a:gdLst/>
            <a:ahLst/>
            <a:cxnLst/>
            <a:rect l="l" t="t" r="r" b="b"/>
            <a:pathLst>
              <a:path w="217881" h="306387">
                <a:moveTo>
                  <a:pt x="0" y="306387"/>
                </a:moveTo>
                <a:lnTo>
                  <a:pt x="217881" y="306387"/>
                </a:lnTo>
                <a:lnTo>
                  <a:pt x="217881" y="0"/>
                </a:lnTo>
                <a:lnTo>
                  <a:pt x="0" y="0"/>
                </a:lnTo>
                <a:lnTo>
                  <a:pt x="0" y="306387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1" name="object 191"/>
          <p:cNvSpPr/>
          <p:nvPr/>
        </p:nvSpPr>
        <p:spPr>
          <a:xfrm>
            <a:off x="6106542" y="2606087"/>
            <a:ext cx="217881" cy="229472"/>
          </a:xfrm>
          <a:custGeom>
            <a:avLst/>
            <a:gdLst/>
            <a:ahLst/>
            <a:cxnLst/>
            <a:rect l="l" t="t" r="r" b="b"/>
            <a:pathLst>
              <a:path w="217881" h="306387">
                <a:moveTo>
                  <a:pt x="0" y="306387"/>
                </a:moveTo>
                <a:lnTo>
                  <a:pt x="217881" y="306387"/>
                </a:lnTo>
                <a:lnTo>
                  <a:pt x="217881" y="0"/>
                </a:lnTo>
                <a:lnTo>
                  <a:pt x="0" y="0"/>
                </a:lnTo>
                <a:lnTo>
                  <a:pt x="0" y="306387"/>
                </a:lnTo>
                <a:close/>
              </a:path>
            </a:pathLst>
          </a:custGeom>
          <a:ln w="9525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2" name="object 192"/>
          <p:cNvSpPr/>
          <p:nvPr/>
        </p:nvSpPr>
        <p:spPr>
          <a:xfrm>
            <a:off x="6398261" y="1571680"/>
            <a:ext cx="217881" cy="193802"/>
          </a:xfrm>
          <a:custGeom>
            <a:avLst/>
            <a:gdLst/>
            <a:ahLst/>
            <a:cxnLst/>
            <a:rect l="l" t="t" r="r" b="b"/>
            <a:pathLst>
              <a:path w="217881" h="258762">
                <a:moveTo>
                  <a:pt x="0" y="258762"/>
                </a:moveTo>
                <a:lnTo>
                  <a:pt x="217881" y="258762"/>
                </a:lnTo>
                <a:lnTo>
                  <a:pt x="217881" y="0"/>
                </a:lnTo>
                <a:lnTo>
                  <a:pt x="0" y="0"/>
                </a:lnTo>
                <a:lnTo>
                  <a:pt x="0" y="258762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3" name="object 193"/>
          <p:cNvSpPr/>
          <p:nvPr/>
        </p:nvSpPr>
        <p:spPr>
          <a:xfrm>
            <a:off x="6398261" y="1571680"/>
            <a:ext cx="217881" cy="193802"/>
          </a:xfrm>
          <a:custGeom>
            <a:avLst/>
            <a:gdLst/>
            <a:ahLst/>
            <a:cxnLst/>
            <a:rect l="l" t="t" r="r" b="b"/>
            <a:pathLst>
              <a:path w="217881" h="258762">
                <a:moveTo>
                  <a:pt x="0" y="258762"/>
                </a:moveTo>
                <a:lnTo>
                  <a:pt x="217881" y="258762"/>
                </a:lnTo>
                <a:lnTo>
                  <a:pt x="217881" y="0"/>
                </a:lnTo>
                <a:lnTo>
                  <a:pt x="0" y="0"/>
                </a:lnTo>
                <a:lnTo>
                  <a:pt x="0" y="258762"/>
                </a:lnTo>
                <a:close/>
              </a:path>
            </a:pathLst>
          </a:custGeom>
          <a:ln w="9525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4" name="object 194"/>
          <p:cNvSpPr/>
          <p:nvPr/>
        </p:nvSpPr>
        <p:spPr>
          <a:xfrm>
            <a:off x="6398261" y="1765530"/>
            <a:ext cx="217881" cy="237747"/>
          </a:xfrm>
          <a:custGeom>
            <a:avLst/>
            <a:gdLst/>
            <a:ahLst/>
            <a:cxnLst/>
            <a:rect l="l" t="t" r="r" b="b"/>
            <a:pathLst>
              <a:path w="217881" h="317436">
                <a:moveTo>
                  <a:pt x="0" y="317436"/>
                </a:moveTo>
                <a:lnTo>
                  <a:pt x="217881" y="317436"/>
                </a:lnTo>
                <a:lnTo>
                  <a:pt x="217881" y="0"/>
                </a:lnTo>
                <a:lnTo>
                  <a:pt x="0" y="0"/>
                </a:lnTo>
                <a:lnTo>
                  <a:pt x="0" y="317436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5" name="object 195"/>
          <p:cNvSpPr/>
          <p:nvPr/>
        </p:nvSpPr>
        <p:spPr>
          <a:xfrm>
            <a:off x="6398261" y="1765531"/>
            <a:ext cx="217881" cy="873895"/>
          </a:xfrm>
          <a:custGeom>
            <a:avLst/>
            <a:gdLst/>
            <a:ahLst/>
            <a:cxnLst/>
            <a:rect l="l" t="t" r="r" b="b"/>
            <a:pathLst>
              <a:path w="217881" h="1166812">
                <a:moveTo>
                  <a:pt x="0" y="1166812"/>
                </a:moveTo>
                <a:lnTo>
                  <a:pt x="217881" y="1166812"/>
                </a:lnTo>
                <a:lnTo>
                  <a:pt x="217881" y="0"/>
                </a:lnTo>
                <a:lnTo>
                  <a:pt x="0" y="0"/>
                </a:lnTo>
                <a:lnTo>
                  <a:pt x="0" y="1166812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6" name="object 196"/>
          <p:cNvSpPr/>
          <p:nvPr/>
        </p:nvSpPr>
        <p:spPr>
          <a:xfrm>
            <a:off x="6398261" y="2003278"/>
            <a:ext cx="217881" cy="837037"/>
          </a:xfrm>
          <a:custGeom>
            <a:avLst/>
            <a:gdLst/>
            <a:ahLst/>
            <a:cxnLst/>
            <a:rect l="l" t="t" r="r" b="b"/>
            <a:pathLst>
              <a:path w="217881" h="1117600">
                <a:moveTo>
                  <a:pt x="0" y="1117600"/>
                </a:moveTo>
                <a:lnTo>
                  <a:pt x="217881" y="1117600"/>
                </a:lnTo>
                <a:lnTo>
                  <a:pt x="217881" y="0"/>
                </a:lnTo>
                <a:lnTo>
                  <a:pt x="0" y="0"/>
                </a:lnTo>
                <a:lnTo>
                  <a:pt x="0" y="111760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7" name="object 197"/>
          <p:cNvSpPr/>
          <p:nvPr/>
        </p:nvSpPr>
        <p:spPr>
          <a:xfrm>
            <a:off x="6398261" y="2003278"/>
            <a:ext cx="217881" cy="837037"/>
          </a:xfrm>
          <a:custGeom>
            <a:avLst/>
            <a:gdLst/>
            <a:ahLst/>
            <a:cxnLst/>
            <a:rect l="l" t="t" r="r" b="b"/>
            <a:pathLst>
              <a:path w="217881" h="1117600">
                <a:moveTo>
                  <a:pt x="0" y="1117600"/>
                </a:moveTo>
                <a:lnTo>
                  <a:pt x="217881" y="1117600"/>
                </a:lnTo>
                <a:lnTo>
                  <a:pt x="217881" y="0"/>
                </a:lnTo>
                <a:lnTo>
                  <a:pt x="0" y="0"/>
                </a:lnTo>
                <a:lnTo>
                  <a:pt x="0" y="1117600"/>
                </a:lnTo>
                <a:close/>
              </a:path>
            </a:pathLst>
          </a:custGeom>
          <a:ln w="9525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8" name="object 198"/>
          <p:cNvSpPr/>
          <p:nvPr/>
        </p:nvSpPr>
        <p:spPr>
          <a:xfrm>
            <a:off x="6689853" y="1571680"/>
            <a:ext cx="217881" cy="655124"/>
          </a:xfrm>
          <a:custGeom>
            <a:avLst/>
            <a:gdLst/>
            <a:ahLst/>
            <a:cxnLst/>
            <a:rect l="l" t="t" r="r" b="b"/>
            <a:pathLst>
              <a:path w="217881" h="874712">
                <a:moveTo>
                  <a:pt x="0" y="874712"/>
                </a:moveTo>
                <a:lnTo>
                  <a:pt x="217881" y="874712"/>
                </a:lnTo>
                <a:lnTo>
                  <a:pt x="217881" y="0"/>
                </a:lnTo>
                <a:lnTo>
                  <a:pt x="0" y="0"/>
                </a:lnTo>
                <a:lnTo>
                  <a:pt x="0" y="874712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9" name="object 199"/>
          <p:cNvSpPr/>
          <p:nvPr/>
        </p:nvSpPr>
        <p:spPr>
          <a:xfrm>
            <a:off x="6689853" y="1571680"/>
            <a:ext cx="217881" cy="655124"/>
          </a:xfrm>
          <a:custGeom>
            <a:avLst/>
            <a:gdLst/>
            <a:ahLst/>
            <a:cxnLst/>
            <a:rect l="l" t="t" r="r" b="b"/>
            <a:pathLst>
              <a:path w="217881" h="874712">
                <a:moveTo>
                  <a:pt x="0" y="874712"/>
                </a:moveTo>
                <a:lnTo>
                  <a:pt x="217881" y="874712"/>
                </a:lnTo>
                <a:lnTo>
                  <a:pt x="217881" y="0"/>
                </a:lnTo>
                <a:lnTo>
                  <a:pt x="0" y="0"/>
                </a:lnTo>
                <a:lnTo>
                  <a:pt x="0" y="874712"/>
                </a:lnTo>
                <a:close/>
              </a:path>
            </a:pathLst>
          </a:custGeom>
          <a:ln w="9524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0" name="object 200"/>
          <p:cNvSpPr/>
          <p:nvPr/>
        </p:nvSpPr>
        <p:spPr>
          <a:xfrm>
            <a:off x="6689853" y="2647701"/>
            <a:ext cx="217881" cy="194992"/>
          </a:xfrm>
          <a:custGeom>
            <a:avLst/>
            <a:gdLst/>
            <a:ahLst/>
            <a:cxnLst/>
            <a:rect l="l" t="t" r="r" b="b"/>
            <a:pathLst>
              <a:path w="217881" h="260350">
                <a:moveTo>
                  <a:pt x="0" y="260350"/>
                </a:moveTo>
                <a:lnTo>
                  <a:pt x="217881" y="260350"/>
                </a:lnTo>
                <a:lnTo>
                  <a:pt x="217881" y="0"/>
                </a:lnTo>
                <a:lnTo>
                  <a:pt x="0" y="0"/>
                </a:lnTo>
                <a:lnTo>
                  <a:pt x="0" y="26035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1" name="object 201"/>
          <p:cNvSpPr/>
          <p:nvPr/>
        </p:nvSpPr>
        <p:spPr>
          <a:xfrm>
            <a:off x="6689853" y="2647701"/>
            <a:ext cx="217881" cy="194992"/>
          </a:xfrm>
          <a:custGeom>
            <a:avLst/>
            <a:gdLst/>
            <a:ahLst/>
            <a:cxnLst/>
            <a:rect l="l" t="t" r="r" b="b"/>
            <a:pathLst>
              <a:path w="217881" h="260350">
                <a:moveTo>
                  <a:pt x="0" y="260350"/>
                </a:moveTo>
                <a:lnTo>
                  <a:pt x="217881" y="260350"/>
                </a:lnTo>
                <a:lnTo>
                  <a:pt x="217881" y="0"/>
                </a:lnTo>
                <a:lnTo>
                  <a:pt x="0" y="0"/>
                </a:lnTo>
                <a:lnTo>
                  <a:pt x="0" y="260350"/>
                </a:lnTo>
                <a:close/>
              </a:path>
            </a:pathLst>
          </a:custGeom>
          <a:ln w="9525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2" name="object 202"/>
          <p:cNvSpPr/>
          <p:nvPr/>
        </p:nvSpPr>
        <p:spPr>
          <a:xfrm>
            <a:off x="6689853" y="2232750"/>
            <a:ext cx="217881" cy="412573"/>
          </a:xfrm>
          <a:custGeom>
            <a:avLst/>
            <a:gdLst/>
            <a:ahLst/>
            <a:cxnLst/>
            <a:rect l="l" t="t" r="r" b="b"/>
            <a:pathLst>
              <a:path w="217881" h="550862">
                <a:moveTo>
                  <a:pt x="0" y="550862"/>
                </a:moveTo>
                <a:lnTo>
                  <a:pt x="217881" y="550862"/>
                </a:lnTo>
                <a:lnTo>
                  <a:pt x="217881" y="0"/>
                </a:lnTo>
                <a:lnTo>
                  <a:pt x="0" y="0"/>
                </a:lnTo>
                <a:lnTo>
                  <a:pt x="0" y="550862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3" name="object 203"/>
          <p:cNvSpPr/>
          <p:nvPr/>
        </p:nvSpPr>
        <p:spPr>
          <a:xfrm>
            <a:off x="6689853" y="2232750"/>
            <a:ext cx="217881" cy="412573"/>
          </a:xfrm>
          <a:custGeom>
            <a:avLst/>
            <a:gdLst/>
            <a:ahLst/>
            <a:cxnLst/>
            <a:rect l="l" t="t" r="r" b="b"/>
            <a:pathLst>
              <a:path w="217881" h="550862">
                <a:moveTo>
                  <a:pt x="0" y="550862"/>
                </a:moveTo>
                <a:lnTo>
                  <a:pt x="217881" y="550862"/>
                </a:lnTo>
                <a:lnTo>
                  <a:pt x="217881" y="0"/>
                </a:lnTo>
                <a:lnTo>
                  <a:pt x="0" y="0"/>
                </a:lnTo>
                <a:lnTo>
                  <a:pt x="0" y="550862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4" name="object 204"/>
          <p:cNvSpPr/>
          <p:nvPr/>
        </p:nvSpPr>
        <p:spPr>
          <a:xfrm>
            <a:off x="6982842" y="1571252"/>
            <a:ext cx="216687" cy="24731"/>
          </a:xfrm>
          <a:custGeom>
            <a:avLst/>
            <a:gdLst/>
            <a:ahLst/>
            <a:cxnLst/>
            <a:rect l="l" t="t" r="r" b="b"/>
            <a:pathLst>
              <a:path w="216687" h="33020">
                <a:moveTo>
                  <a:pt x="0" y="33020"/>
                </a:moveTo>
                <a:lnTo>
                  <a:pt x="216687" y="33020"/>
                </a:lnTo>
                <a:lnTo>
                  <a:pt x="216687" y="0"/>
                </a:lnTo>
                <a:lnTo>
                  <a:pt x="0" y="0"/>
                </a:lnTo>
                <a:lnTo>
                  <a:pt x="0" y="33020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5" name="object 205"/>
          <p:cNvSpPr/>
          <p:nvPr/>
        </p:nvSpPr>
        <p:spPr>
          <a:xfrm>
            <a:off x="6982842" y="1571728"/>
            <a:ext cx="216687" cy="23779"/>
          </a:xfrm>
          <a:custGeom>
            <a:avLst/>
            <a:gdLst/>
            <a:ahLst/>
            <a:cxnLst/>
            <a:rect l="l" t="t" r="r" b="b"/>
            <a:pathLst>
              <a:path w="216687" h="31750">
                <a:moveTo>
                  <a:pt x="0" y="31750"/>
                </a:moveTo>
                <a:lnTo>
                  <a:pt x="216687" y="31750"/>
                </a:lnTo>
                <a:lnTo>
                  <a:pt x="216687" y="0"/>
                </a:lnTo>
                <a:lnTo>
                  <a:pt x="0" y="0"/>
                </a:lnTo>
                <a:lnTo>
                  <a:pt x="0" y="31750"/>
                </a:lnTo>
                <a:close/>
              </a:path>
            </a:pathLst>
          </a:custGeom>
          <a:ln w="9525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6" name="object 206"/>
          <p:cNvSpPr/>
          <p:nvPr/>
        </p:nvSpPr>
        <p:spPr>
          <a:xfrm>
            <a:off x="6982842" y="1597837"/>
            <a:ext cx="216687" cy="174779"/>
          </a:xfrm>
          <a:custGeom>
            <a:avLst/>
            <a:gdLst/>
            <a:ahLst/>
            <a:cxnLst/>
            <a:rect l="l" t="t" r="r" b="b"/>
            <a:pathLst>
              <a:path w="216687" h="233362">
                <a:moveTo>
                  <a:pt x="0" y="233362"/>
                </a:moveTo>
                <a:lnTo>
                  <a:pt x="216687" y="233362"/>
                </a:lnTo>
                <a:lnTo>
                  <a:pt x="216687" y="0"/>
                </a:lnTo>
                <a:lnTo>
                  <a:pt x="0" y="0"/>
                </a:lnTo>
                <a:lnTo>
                  <a:pt x="0" y="233362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7" name="object 207"/>
          <p:cNvSpPr/>
          <p:nvPr/>
        </p:nvSpPr>
        <p:spPr>
          <a:xfrm>
            <a:off x="6982842" y="1597837"/>
            <a:ext cx="216687" cy="217582"/>
          </a:xfrm>
          <a:custGeom>
            <a:avLst/>
            <a:gdLst/>
            <a:ahLst/>
            <a:cxnLst/>
            <a:rect l="l" t="t" r="r" b="b"/>
            <a:pathLst>
              <a:path w="216687" h="290512">
                <a:moveTo>
                  <a:pt x="0" y="290512"/>
                </a:moveTo>
                <a:lnTo>
                  <a:pt x="216687" y="290512"/>
                </a:lnTo>
                <a:lnTo>
                  <a:pt x="216687" y="0"/>
                </a:lnTo>
                <a:lnTo>
                  <a:pt x="0" y="0"/>
                </a:lnTo>
                <a:lnTo>
                  <a:pt x="0" y="290512"/>
                </a:lnTo>
                <a:close/>
              </a:path>
            </a:pathLst>
          </a:custGeom>
          <a:ln w="9524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8" name="object 208"/>
          <p:cNvSpPr/>
          <p:nvPr/>
        </p:nvSpPr>
        <p:spPr>
          <a:xfrm>
            <a:off x="6982842" y="1772618"/>
            <a:ext cx="216687" cy="1067698"/>
          </a:xfrm>
          <a:custGeom>
            <a:avLst/>
            <a:gdLst/>
            <a:ahLst/>
            <a:cxnLst/>
            <a:rect l="l" t="t" r="r" b="b"/>
            <a:pathLst>
              <a:path w="216687" h="1425575">
                <a:moveTo>
                  <a:pt x="0" y="1425575"/>
                </a:moveTo>
                <a:lnTo>
                  <a:pt x="216687" y="1425575"/>
                </a:lnTo>
                <a:lnTo>
                  <a:pt x="216687" y="0"/>
                </a:lnTo>
                <a:lnTo>
                  <a:pt x="0" y="0"/>
                </a:lnTo>
                <a:lnTo>
                  <a:pt x="0" y="1425575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9" name="object 209"/>
          <p:cNvSpPr/>
          <p:nvPr/>
        </p:nvSpPr>
        <p:spPr>
          <a:xfrm>
            <a:off x="6982842" y="1772618"/>
            <a:ext cx="216687" cy="1067698"/>
          </a:xfrm>
          <a:custGeom>
            <a:avLst/>
            <a:gdLst/>
            <a:ahLst/>
            <a:cxnLst/>
            <a:rect l="l" t="t" r="r" b="b"/>
            <a:pathLst>
              <a:path w="216687" h="1425575">
                <a:moveTo>
                  <a:pt x="0" y="1425575"/>
                </a:moveTo>
                <a:lnTo>
                  <a:pt x="216687" y="1425575"/>
                </a:lnTo>
                <a:lnTo>
                  <a:pt x="216687" y="0"/>
                </a:lnTo>
                <a:lnTo>
                  <a:pt x="0" y="0"/>
                </a:lnTo>
                <a:lnTo>
                  <a:pt x="0" y="1425575"/>
                </a:lnTo>
                <a:close/>
              </a:path>
            </a:pathLst>
          </a:custGeom>
          <a:ln w="9524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0" name="object 210"/>
          <p:cNvSpPr/>
          <p:nvPr/>
        </p:nvSpPr>
        <p:spPr>
          <a:xfrm>
            <a:off x="7566153" y="1571681"/>
            <a:ext cx="217881" cy="291298"/>
          </a:xfrm>
          <a:custGeom>
            <a:avLst/>
            <a:gdLst/>
            <a:ahLst/>
            <a:cxnLst/>
            <a:rect l="l" t="t" r="r" b="b"/>
            <a:pathLst>
              <a:path w="217881" h="388937">
                <a:moveTo>
                  <a:pt x="0" y="388937"/>
                </a:moveTo>
                <a:lnTo>
                  <a:pt x="217881" y="388937"/>
                </a:lnTo>
                <a:lnTo>
                  <a:pt x="217881" y="0"/>
                </a:lnTo>
                <a:lnTo>
                  <a:pt x="0" y="0"/>
                </a:lnTo>
                <a:lnTo>
                  <a:pt x="0" y="388937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1" name="object 211"/>
          <p:cNvSpPr/>
          <p:nvPr/>
        </p:nvSpPr>
        <p:spPr>
          <a:xfrm>
            <a:off x="7566153" y="1571681"/>
            <a:ext cx="217881" cy="291298"/>
          </a:xfrm>
          <a:custGeom>
            <a:avLst/>
            <a:gdLst/>
            <a:ahLst/>
            <a:cxnLst/>
            <a:rect l="l" t="t" r="r" b="b"/>
            <a:pathLst>
              <a:path w="217881" h="388937">
                <a:moveTo>
                  <a:pt x="0" y="388937"/>
                </a:moveTo>
                <a:lnTo>
                  <a:pt x="217881" y="388937"/>
                </a:lnTo>
                <a:lnTo>
                  <a:pt x="217881" y="0"/>
                </a:lnTo>
                <a:lnTo>
                  <a:pt x="0" y="0"/>
                </a:lnTo>
                <a:lnTo>
                  <a:pt x="0" y="388937"/>
                </a:lnTo>
                <a:close/>
              </a:path>
            </a:pathLst>
          </a:custGeom>
          <a:ln w="9525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2" name="object 212"/>
          <p:cNvSpPr/>
          <p:nvPr/>
        </p:nvSpPr>
        <p:spPr>
          <a:xfrm>
            <a:off x="7566153" y="1859460"/>
            <a:ext cx="217881" cy="183054"/>
          </a:xfrm>
          <a:custGeom>
            <a:avLst/>
            <a:gdLst/>
            <a:ahLst/>
            <a:cxnLst/>
            <a:rect l="l" t="t" r="r" b="b"/>
            <a:pathLst>
              <a:path w="217881" h="244411">
                <a:moveTo>
                  <a:pt x="0" y="244411"/>
                </a:moveTo>
                <a:lnTo>
                  <a:pt x="217881" y="244411"/>
                </a:lnTo>
                <a:lnTo>
                  <a:pt x="217881" y="0"/>
                </a:lnTo>
                <a:lnTo>
                  <a:pt x="0" y="0"/>
                </a:lnTo>
                <a:lnTo>
                  <a:pt x="0" y="244411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3" name="object 213"/>
          <p:cNvSpPr/>
          <p:nvPr/>
        </p:nvSpPr>
        <p:spPr>
          <a:xfrm>
            <a:off x="7566153" y="1859460"/>
            <a:ext cx="217881" cy="218771"/>
          </a:xfrm>
          <a:custGeom>
            <a:avLst/>
            <a:gdLst/>
            <a:ahLst/>
            <a:cxnLst/>
            <a:rect l="l" t="t" r="r" b="b"/>
            <a:pathLst>
              <a:path w="217881" h="292100">
                <a:moveTo>
                  <a:pt x="0" y="292100"/>
                </a:moveTo>
                <a:lnTo>
                  <a:pt x="217881" y="292100"/>
                </a:lnTo>
                <a:lnTo>
                  <a:pt x="217881" y="0"/>
                </a:lnTo>
                <a:lnTo>
                  <a:pt x="0" y="0"/>
                </a:lnTo>
                <a:lnTo>
                  <a:pt x="0" y="292100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4" name="object 214"/>
          <p:cNvSpPr/>
          <p:nvPr/>
        </p:nvSpPr>
        <p:spPr>
          <a:xfrm>
            <a:off x="7566153" y="2042514"/>
            <a:ext cx="217881" cy="800179"/>
          </a:xfrm>
          <a:custGeom>
            <a:avLst/>
            <a:gdLst/>
            <a:ahLst/>
            <a:cxnLst/>
            <a:rect l="l" t="t" r="r" b="b"/>
            <a:pathLst>
              <a:path w="217881" h="1068387">
                <a:moveTo>
                  <a:pt x="0" y="1068387"/>
                </a:moveTo>
                <a:lnTo>
                  <a:pt x="217881" y="1068387"/>
                </a:lnTo>
                <a:lnTo>
                  <a:pt x="217881" y="0"/>
                </a:lnTo>
                <a:lnTo>
                  <a:pt x="0" y="0"/>
                </a:lnTo>
                <a:lnTo>
                  <a:pt x="0" y="1068387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5" name="object 215"/>
          <p:cNvSpPr/>
          <p:nvPr/>
        </p:nvSpPr>
        <p:spPr>
          <a:xfrm>
            <a:off x="7566153" y="2042514"/>
            <a:ext cx="217881" cy="800179"/>
          </a:xfrm>
          <a:custGeom>
            <a:avLst/>
            <a:gdLst/>
            <a:ahLst/>
            <a:cxnLst/>
            <a:rect l="l" t="t" r="r" b="b"/>
            <a:pathLst>
              <a:path w="217881" h="1068387">
                <a:moveTo>
                  <a:pt x="0" y="1068387"/>
                </a:moveTo>
                <a:lnTo>
                  <a:pt x="217881" y="1068387"/>
                </a:lnTo>
                <a:lnTo>
                  <a:pt x="217881" y="0"/>
                </a:lnTo>
                <a:lnTo>
                  <a:pt x="0" y="0"/>
                </a:lnTo>
                <a:lnTo>
                  <a:pt x="0" y="1068387"/>
                </a:lnTo>
                <a:close/>
              </a:path>
            </a:pathLst>
          </a:custGeom>
          <a:ln w="9524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6" name="object 216"/>
          <p:cNvSpPr/>
          <p:nvPr/>
        </p:nvSpPr>
        <p:spPr>
          <a:xfrm>
            <a:off x="5177790" y="2840315"/>
            <a:ext cx="2672968" cy="1236"/>
          </a:xfrm>
          <a:custGeom>
            <a:avLst/>
            <a:gdLst/>
            <a:ahLst/>
            <a:cxnLst/>
            <a:rect l="l" t="t" r="r" b="b"/>
            <a:pathLst>
              <a:path w="2672968" h="1650">
                <a:moveTo>
                  <a:pt x="2672968" y="0"/>
                </a:moveTo>
                <a:lnTo>
                  <a:pt x="0" y="1650"/>
                </a:lnTo>
              </a:path>
            </a:pathLst>
          </a:custGeom>
          <a:ln w="19050">
            <a:solidFill>
              <a:srgbClr val="9A8A7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7" name="object 217"/>
          <p:cNvSpPr/>
          <p:nvPr/>
        </p:nvSpPr>
        <p:spPr>
          <a:xfrm>
            <a:off x="7873493" y="3760163"/>
            <a:ext cx="107999" cy="80887"/>
          </a:xfrm>
          <a:custGeom>
            <a:avLst/>
            <a:gdLst/>
            <a:ahLst/>
            <a:cxnLst/>
            <a:rect l="l" t="t" r="r" b="b"/>
            <a:pathLst>
              <a:path w="107999" h="107999">
                <a:moveTo>
                  <a:pt x="0" y="107999"/>
                </a:moveTo>
                <a:lnTo>
                  <a:pt x="107999" y="107999"/>
                </a:lnTo>
                <a:lnTo>
                  <a:pt x="107999" y="0"/>
                </a:lnTo>
                <a:lnTo>
                  <a:pt x="0" y="0"/>
                </a:lnTo>
                <a:lnTo>
                  <a:pt x="0" y="107999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8" name="object 218"/>
          <p:cNvSpPr/>
          <p:nvPr/>
        </p:nvSpPr>
        <p:spPr>
          <a:xfrm>
            <a:off x="7873493" y="3760163"/>
            <a:ext cx="107999" cy="80887"/>
          </a:xfrm>
          <a:custGeom>
            <a:avLst/>
            <a:gdLst/>
            <a:ahLst/>
            <a:cxnLst/>
            <a:rect l="l" t="t" r="r" b="b"/>
            <a:pathLst>
              <a:path w="107999" h="107999">
                <a:moveTo>
                  <a:pt x="0" y="107999"/>
                </a:moveTo>
                <a:lnTo>
                  <a:pt x="107999" y="107999"/>
                </a:lnTo>
                <a:lnTo>
                  <a:pt x="107999" y="0"/>
                </a:lnTo>
                <a:lnTo>
                  <a:pt x="0" y="0"/>
                </a:lnTo>
                <a:lnTo>
                  <a:pt x="0" y="107999"/>
                </a:lnTo>
                <a:close/>
              </a:path>
            </a:pathLst>
          </a:custGeom>
          <a:ln w="9525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9" name="object 219"/>
          <p:cNvSpPr/>
          <p:nvPr/>
        </p:nvSpPr>
        <p:spPr>
          <a:xfrm>
            <a:off x="7874761" y="3945929"/>
            <a:ext cx="108000" cy="80887"/>
          </a:xfrm>
          <a:custGeom>
            <a:avLst/>
            <a:gdLst/>
            <a:ahLst/>
            <a:cxnLst/>
            <a:rect l="l" t="t" r="r" b="b"/>
            <a:pathLst>
              <a:path w="108000" h="107999">
                <a:moveTo>
                  <a:pt x="0" y="107999"/>
                </a:moveTo>
                <a:lnTo>
                  <a:pt x="108000" y="107999"/>
                </a:lnTo>
                <a:lnTo>
                  <a:pt x="108000" y="0"/>
                </a:lnTo>
                <a:lnTo>
                  <a:pt x="0" y="0"/>
                </a:lnTo>
                <a:lnTo>
                  <a:pt x="0" y="107999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0" name="object 220"/>
          <p:cNvSpPr/>
          <p:nvPr/>
        </p:nvSpPr>
        <p:spPr>
          <a:xfrm>
            <a:off x="7874761" y="3945929"/>
            <a:ext cx="108000" cy="80887"/>
          </a:xfrm>
          <a:custGeom>
            <a:avLst/>
            <a:gdLst/>
            <a:ahLst/>
            <a:cxnLst/>
            <a:rect l="l" t="t" r="r" b="b"/>
            <a:pathLst>
              <a:path w="108000" h="107999">
                <a:moveTo>
                  <a:pt x="0" y="107999"/>
                </a:moveTo>
                <a:lnTo>
                  <a:pt x="108000" y="107999"/>
                </a:lnTo>
                <a:lnTo>
                  <a:pt x="108000" y="0"/>
                </a:lnTo>
                <a:lnTo>
                  <a:pt x="0" y="0"/>
                </a:lnTo>
                <a:lnTo>
                  <a:pt x="0" y="107999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1" name="object 221"/>
          <p:cNvSpPr/>
          <p:nvPr/>
        </p:nvSpPr>
        <p:spPr>
          <a:xfrm>
            <a:off x="7876032" y="4131589"/>
            <a:ext cx="108000" cy="80887"/>
          </a:xfrm>
          <a:custGeom>
            <a:avLst/>
            <a:gdLst/>
            <a:ahLst/>
            <a:cxnLst/>
            <a:rect l="l" t="t" r="r" b="b"/>
            <a:pathLst>
              <a:path w="108000" h="107999">
                <a:moveTo>
                  <a:pt x="0" y="107999"/>
                </a:moveTo>
                <a:lnTo>
                  <a:pt x="108000" y="107999"/>
                </a:lnTo>
                <a:lnTo>
                  <a:pt x="108000" y="0"/>
                </a:lnTo>
                <a:lnTo>
                  <a:pt x="0" y="0"/>
                </a:lnTo>
                <a:lnTo>
                  <a:pt x="0" y="107999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2" name="object 222"/>
          <p:cNvSpPr/>
          <p:nvPr/>
        </p:nvSpPr>
        <p:spPr>
          <a:xfrm>
            <a:off x="7876032" y="4131589"/>
            <a:ext cx="108000" cy="80887"/>
          </a:xfrm>
          <a:custGeom>
            <a:avLst/>
            <a:gdLst/>
            <a:ahLst/>
            <a:cxnLst/>
            <a:rect l="l" t="t" r="r" b="b"/>
            <a:pathLst>
              <a:path w="108000" h="107999">
                <a:moveTo>
                  <a:pt x="0" y="107999"/>
                </a:moveTo>
                <a:lnTo>
                  <a:pt x="108000" y="107999"/>
                </a:lnTo>
                <a:lnTo>
                  <a:pt x="108000" y="0"/>
                </a:lnTo>
                <a:lnTo>
                  <a:pt x="0" y="0"/>
                </a:lnTo>
                <a:lnTo>
                  <a:pt x="0" y="107999"/>
                </a:lnTo>
                <a:close/>
              </a:path>
            </a:pathLst>
          </a:custGeom>
          <a:ln w="9525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3" name="object 223"/>
          <p:cNvSpPr/>
          <p:nvPr/>
        </p:nvSpPr>
        <p:spPr>
          <a:xfrm>
            <a:off x="8018653" y="1836689"/>
            <a:ext cx="108000" cy="80887"/>
          </a:xfrm>
          <a:custGeom>
            <a:avLst/>
            <a:gdLst/>
            <a:ahLst/>
            <a:cxnLst/>
            <a:rect l="l" t="t" r="r" b="b"/>
            <a:pathLst>
              <a:path w="108000" h="107999">
                <a:moveTo>
                  <a:pt x="0" y="107999"/>
                </a:moveTo>
                <a:lnTo>
                  <a:pt x="108000" y="107999"/>
                </a:lnTo>
                <a:lnTo>
                  <a:pt x="108000" y="0"/>
                </a:lnTo>
                <a:lnTo>
                  <a:pt x="0" y="0"/>
                </a:lnTo>
                <a:lnTo>
                  <a:pt x="0" y="107999"/>
                </a:lnTo>
                <a:close/>
              </a:path>
            </a:pathLst>
          </a:custGeom>
          <a:solidFill>
            <a:srgbClr val="F49F11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4" name="object 224"/>
          <p:cNvSpPr/>
          <p:nvPr/>
        </p:nvSpPr>
        <p:spPr>
          <a:xfrm>
            <a:off x="8018653" y="1836689"/>
            <a:ext cx="108000" cy="80887"/>
          </a:xfrm>
          <a:custGeom>
            <a:avLst/>
            <a:gdLst/>
            <a:ahLst/>
            <a:cxnLst/>
            <a:rect l="l" t="t" r="r" b="b"/>
            <a:pathLst>
              <a:path w="108000" h="107999">
                <a:moveTo>
                  <a:pt x="0" y="107999"/>
                </a:moveTo>
                <a:lnTo>
                  <a:pt x="108000" y="107999"/>
                </a:lnTo>
                <a:lnTo>
                  <a:pt x="108000" y="0"/>
                </a:lnTo>
                <a:lnTo>
                  <a:pt x="0" y="0"/>
                </a:lnTo>
                <a:lnTo>
                  <a:pt x="0" y="107999"/>
                </a:lnTo>
                <a:close/>
              </a:path>
            </a:pathLst>
          </a:custGeom>
          <a:ln w="9525">
            <a:solidFill>
              <a:srgbClr val="F49F1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5" name="object 225"/>
          <p:cNvSpPr/>
          <p:nvPr/>
        </p:nvSpPr>
        <p:spPr>
          <a:xfrm>
            <a:off x="8020050" y="2022359"/>
            <a:ext cx="108000" cy="80887"/>
          </a:xfrm>
          <a:custGeom>
            <a:avLst/>
            <a:gdLst/>
            <a:ahLst/>
            <a:cxnLst/>
            <a:rect l="l" t="t" r="r" b="b"/>
            <a:pathLst>
              <a:path w="108000" h="107999">
                <a:moveTo>
                  <a:pt x="0" y="107999"/>
                </a:moveTo>
                <a:lnTo>
                  <a:pt x="108000" y="107999"/>
                </a:lnTo>
                <a:lnTo>
                  <a:pt x="108000" y="0"/>
                </a:lnTo>
                <a:lnTo>
                  <a:pt x="0" y="0"/>
                </a:lnTo>
                <a:lnTo>
                  <a:pt x="0" y="107999"/>
                </a:ln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6" name="object 226"/>
          <p:cNvSpPr/>
          <p:nvPr/>
        </p:nvSpPr>
        <p:spPr>
          <a:xfrm>
            <a:off x="8020050" y="2022359"/>
            <a:ext cx="108000" cy="80887"/>
          </a:xfrm>
          <a:custGeom>
            <a:avLst/>
            <a:gdLst/>
            <a:ahLst/>
            <a:cxnLst/>
            <a:rect l="l" t="t" r="r" b="b"/>
            <a:pathLst>
              <a:path w="108000" h="107999">
                <a:moveTo>
                  <a:pt x="0" y="107999"/>
                </a:moveTo>
                <a:lnTo>
                  <a:pt x="108000" y="107999"/>
                </a:lnTo>
                <a:lnTo>
                  <a:pt x="108000" y="0"/>
                </a:lnTo>
                <a:lnTo>
                  <a:pt x="0" y="0"/>
                </a:lnTo>
                <a:lnTo>
                  <a:pt x="0" y="107999"/>
                </a:lnTo>
                <a:close/>
              </a:path>
            </a:pathLst>
          </a:custGeom>
          <a:ln w="9525">
            <a:solidFill>
              <a:srgbClr val="006FC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7" name="object 227"/>
          <p:cNvSpPr/>
          <p:nvPr/>
        </p:nvSpPr>
        <p:spPr>
          <a:xfrm>
            <a:off x="8021321" y="2208125"/>
            <a:ext cx="107999" cy="80887"/>
          </a:xfrm>
          <a:custGeom>
            <a:avLst/>
            <a:gdLst/>
            <a:ahLst/>
            <a:cxnLst/>
            <a:rect l="l" t="t" r="r" b="b"/>
            <a:pathLst>
              <a:path w="107999" h="107999">
                <a:moveTo>
                  <a:pt x="0" y="107999"/>
                </a:moveTo>
                <a:lnTo>
                  <a:pt x="107999" y="107999"/>
                </a:lnTo>
                <a:lnTo>
                  <a:pt x="107999" y="0"/>
                </a:lnTo>
                <a:lnTo>
                  <a:pt x="0" y="0"/>
                </a:lnTo>
                <a:lnTo>
                  <a:pt x="0" y="107999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8" name="object 228"/>
          <p:cNvSpPr/>
          <p:nvPr/>
        </p:nvSpPr>
        <p:spPr>
          <a:xfrm>
            <a:off x="8021321" y="2208125"/>
            <a:ext cx="107999" cy="80887"/>
          </a:xfrm>
          <a:custGeom>
            <a:avLst/>
            <a:gdLst/>
            <a:ahLst/>
            <a:cxnLst/>
            <a:rect l="l" t="t" r="r" b="b"/>
            <a:pathLst>
              <a:path w="107999" h="107999">
                <a:moveTo>
                  <a:pt x="0" y="107999"/>
                </a:moveTo>
                <a:lnTo>
                  <a:pt x="107999" y="107999"/>
                </a:lnTo>
                <a:lnTo>
                  <a:pt x="107999" y="0"/>
                </a:lnTo>
                <a:lnTo>
                  <a:pt x="0" y="0"/>
                </a:lnTo>
                <a:lnTo>
                  <a:pt x="0" y="107999"/>
                </a:lnTo>
                <a:close/>
              </a:path>
            </a:pathLst>
          </a:custGeom>
          <a:ln w="9525">
            <a:solidFill>
              <a:srgbClr val="00AF5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519176" y="175969"/>
            <a:ext cx="6719824" cy="5905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3375"/>
              </a:lnSpc>
              <a:spcBef>
                <a:spcPts val="168"/>
              </a:spcBef>
            </a:pPr>
            <a:r>
              <a:rPr lang="fr-BE" sz="3200" dirty="0" err="1" smtClean="0">
                <a:solidFill>
                  <a:srgbClr val="DD1812"/>
                </a:solidFill>
                <a:latin typeface="Arial"/>
                <a:cs typeface="Arial"/>
              </a:rPr>
              <a:t>Circulating</a:t>
            </a:r>
            <a:r>
              <a:rPr lang="fr-BE" sz="3200" dirty="0" smtClean="0">
                <a:solidFill>
                  <a:srgbClr val="DD1812"/>
                </a:solidFill>
                <a:latin typeface="Arial"/>
                <a:cs typeface="Arial"/>
              </a:rPr>
              <a:t> </a:t>
            </a:r>
            <a:r>
              <a:rPr lang="fr-BE" sz="3200" dirty="0" err="1" smtClean="0">
                <a:solidFill>
                  <a:srgbClr val="DD1812"/>
                </a:solidFill>
                <a:latin typeface="Arial"/>
                <a:cs typeface="Arial"/>
              </a:rPr>
              <a:t>flu</a:t>
            </a:r>
            <a:r>
              <a:rPr lang="fr-BE" sz="3200" dirty="0" smtClean="0">
                <a:solidFill>
                  <a:srgbClr val="DD1812"/>
                </a:solidFill>
                <a:latin typeface="Arial"/>
                <a:cs typeface="Arial"/>
              </a:rPr>
              <a:t> </a:t>
            </a:r>
            <a:r>
              <a:rPr lang="fr-BE" sz="3200" dirty="0" err="1" smtClean="0">
                <a:solidFill>
                  <a:srgbClr val="DD1812"/>
                </a:solidFill>
                <a:latin typeface="Arial"/>
                <a:cs typeface="Arial"/>
              </a:rPr>
              <a:t>strains</a:t>
            </a:r>
            <a:r>
              <a:rPr lang="fr-BE" sz="3200" dirty="0" smtClean="0">
                <a:solidFill>
                  <a:srgbClr val="DD1812"/>
                </a:solidFill>
                <a:latin typeface="Arial"/>
                <a:cs typeface="Arial"/>
              </a:rPr>
              <a:t> 1997-2005</a:t>
            </a:r>
            <a:endParaRPr sz="32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535941" y="1015082"/>
            <a:ext cx="133811" cy="1525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0"/>
              </a:lnSpc>
              <a:spcBef>
                <a:spcPts val="76"/>
              </a:spcBef>
            </a:pPr>
            <a:r>
              <a:rPr sz="1400" dirty="0" smtClean="0">
                <a:solidFill>
                  <a:srgbClr val="F8A61E"/>
                </a:solidFill>
                <a:latin typeface="Wingdings"/>
                <a:cs typeface="Wingdings"/>
              </a:rPr>
              <a:t></a:t>
            </a:r>
            <a:endParaRPr sz="1400">
              <a:solidFill>
                <a:prstClr val="black"/>
              </a:solidFill>
              <a:latin typeface="Wingdings"/>
              <a:cs typeface="Wingdings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879145" y="1015033"/>
            <a:ext cx="7765635" cy="3123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lang="fr-BE" sz="1400" b="1" spc="-4" dirty="0" err="1" smtClean="0">
                <a:solidFill>
                  <a:srgbClr val="FF0000"/>
                </a:solidFill>
                <a:latin typeface="Arial"/>
                <a:cs typeface="Arial"/>
              </a:rPr>
              <a:t>Yearly</a:t>
            </a:r>
            <a:r>
              <a:rPr lang="fr-BE" sz="1400" b="1" spc="-4" dirty="0" smtClean="0">
                <a:solidFill>
                  <a:srgbClr val="FF0000"/>
                </a:solidFill>
                <a:latin typeface="Arial"/>
                <a:cs typeface="Arial"/>
              </a:rPr>
              <a:t> incidence of the </a:t>
            </a:r>
            <a:r>
              <a:rPr lang="fr-BE" sz="1400" b="1" spc="-4" dirty="0" err="1" smtClean="0">
                <a:solidFill>
                  <a:srgbClr val="FF0000"/>
                </a:solidFill>
                <a:latin typeface="Arial"/>
                <a:cs typeface="Arial"/>
              </a:rPr>
              <a:t>disease</a:t>
            </a:r>
            <a:r>
              <a:rPr lang="fr-BE" sz="1400" b="1" spc="-4" dirty="0" smtClean="0">
                <a:solidFill>
                  <a:srgbClr val="FF0000"/>
                </a:solidFill>
                <a:latin typeface="Arial"/>
                <a:cs typeface="Arial"/>
              </a:rPr>
              <a:t> and of the </a:t>
            </a:r>
            <a:r>
              <a:rPr lang="fr-BE" sz="1400" b="1" spc="-4" dirty="0" err="1" smtClean="0">
                <a:solidFill>
                  <a:srgbClr val="FF0000"/>
                </a:solidFill>
                <a:latin typeface="Arial"/>
                <a:cs typeface="Arial"/>
              </a:rPr>
              <a:t>different</a:t>
            </a:r>
            <a:r>
              <a:rPr lang="fr-BE" sz="1400" b="1" spc="-4" dirty="0" smtClean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fr-BE" sz="1400" b="1" spc="-4" dirty="0" err="1" smtClean="0">
                <a:solidFill>
                  <a:srgbClr val="FF0000"/>
                </a:solidFill>
                <a:latin typeface="Arial"/>
                <a:cs typeface="Arial"/>
              </a:rPr>
              <a:t>strains</a:t>
            </a:r>
            <a:endParaRPr sz="9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1495807" y="1364895"/>
            <a:ext cx="1648319" cy="1368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5"/>
              </a:lnSpc>
              <a:spcBef>
                <a:spcPts val="68"/>
              </a:spcBef>
            </a:pPr>
            <a:r>
              <a:rPr lang="fr-BE" sz="1200" b="1" dirty="0" smtClean="0">
                <a:solidFill>
                  <a:srgbClr val="76685B"/>
                </a:solidFill>
                <a:latin typeface="Arial"/>
                <a:cs typeface="Arial"/>
              </a:rPr>
              <a:t>Hé</a:t>
            </a:r>
            <a:r>
              <a:rPr sz="1200" b="1" spc="4" dirty="0" err="1" smtClean="0">
                <a:solidFill>
                  <a:srgbClr val="76685B"/>
                </a:solidFill>
                <a:latin typeface="Arial"/>
                <a:cs typeface="Arial"/>
              </a:rPr>
              <a:t>m</a:t>
            </a:r>
            <a:r>
              <a:rPr sz="1200" b="1" dirty="0" err="1" smtClean="0">
                <a:solidFill>
                  <a:srgbClr val="76685B"/>
                </a:solidFill>
                <a:latin typeface="Arial"/>
                <a:cs typeface="Arial"/>
              </a:rPr>
              <a:t>i</a:t>
            </a:r>
            <a:r>
              <a:rPr sz="1200" b="1" spc="4" dirty="0" err="1" smtClean="0">
                <a:solidFill>
                  <a:srgbClr val="76685B"/>
                </a:solidFill>
                <a:latin typeface="Arial"/>
                <a:cs typeface="Arial"/>
              </a:rPr>
              <a:t>s</a:t>
            </a:r>
            <a:r>
              <a:rPr sz="1200" b="1" dirty="0" err="1" smtClean="0">
                <a:solidFill>
                  <a:srgbClr val="76685B"/>
                </a:solidFill>
                <a:latin typeface="Arial"/>
                <a:cs typeface="Arial"/>
              </a:rPr>
              <a:t>pher</a:t>
            </a:r>
            <a:r>
              <a:rPr sz="1200" b="1" spc="9" dirty="0" err="1" smtClean="0">
                <a:solidFill>
                  <a:srgbClr val="76685B"/>
                </a:solidFill>
                <a:latin typeface="Arial"/>
                <a:cs typeface="Arial"/>
              </a:rPr>
              <a:t>e</a:t>
            </a:r>
            <a:r>
              <a:rPr lang="fr-BE" sz="1200" b="1" spc="9" dirty="0" smtClean="0">
                <a:solidFill>
                  <a:srgbClr val="76685B"/>
                </a:solidFill>
                <a:latin typeface="Arial"/>
                <a:cs typeface="Arial"/>
              </a:rPr>
              <a:t> Nord</a:t>
            </a:r>
            <a:r>
              <a:rPr sz="1200" b="1" baseline="25364" dirty="0" smtClean="0">
                <a:solidFill>
                  <a:srgbClr val="76685B"/>
                </a:solidFill>
                <a:latin typeface="Arial"/>
                <a:cs typeface="Arial"/>
              </a:rPr>
              <a:t>2</a:t>
            </a:r>
            <a:endParaRPr sz="8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5665725" y="1364895"/>
            <a:ext cx="1675497" cy="1368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65"/>
              </a:lnSpc>
              <a:spcBef>
                <a:spcPts val="68"/>
              </a:spcBef>
            </a:pPr>
            <a:r>
              <a:rPr lang="fr-BE" sz="1200" b="1" dirty="0" smtClean="0">
                <a:solidFill>
                  <a:srgbClr val="76685B"/>
                </a:solidFill>
                <a:latin typeface="Arial"/>
                <a:cs typeface="Arial"/>
              </a:rPr>
              <a:t>Hé</a:t>
            </a:r>
            <a:r>
              <a:rPr sz="1200" b="1" spc="4" dirty="0" err="1" smtClean="0">
                <a:solidFill>
                  <a:srgbClr val="76685B"/>
                </a:solidFill>
                <a:latin typeface="Arial"/>
                <a:cs typeface="Arial"/>
              </a:rPr>
              <a:t>m</a:t>
            </a:r>
            <a:r>
              <a:rPr sz="1200" b="1" dirty="0" err="1" smtClean="0">
                <a:solidFill>
                  <a:srgbClr val="76685B"/>
                </a:solidFill>
                <a:latin typeface="Arial"/>
                <a:cs typeface="Arial"/>
              </a:rPr>
              <a:t>i</a:t>
            </a:r>
            <a:r>
              <a:rPr sz="1200" b="1" spc="4" dirty="0" err="1" smtClean="0">
                <a:solidFill>
                  <a:srgbClr val="76685B"/>
                </a:solidFill>
                <a:latin typeface="Arial"/>
                <a:cs typeface="Arial"/>
              </a:rPr>
              <a:t>s</a:t>
            </a:r>
            <a:r>
              <a:rPr sz="1200" b="1" dirty="0" err="1" smtClean="0">
                <a:solidFill>
                  <a:srgbClr val="76685B"/>
                </a:solidFill>
                <a:latin typeface="Arial"/>
                <a:cs typeface="Arial"/>
              </a:rPr>
              <a:t>pher</a:t>
            </a:r>
            <a:r>
              <a:rPr sz="1200" b="1" spc="9" dirty="0" err="1" smtClean="0">
                <a:solidFill>
                  <a:srgbClr val="76685B"/>
                </a:solidFill>
                <a:latin typeface="Arial"/>
                <a:cs typeface="Arial"/>
              </a:rPr>
              <a:t>e</a:t>
            </a:r>
            <a:r>
              <a:rPr lang="fr-BE" sz="1200" b="1" spc="9" dirty="0" smtClean="0">
                <a:solidFill>
                  <a:srgbClr val="76685B"/>
                </a:solidFill>
                <a:latin typeface="Arial"/>
                <a:cs typeface="Arial"/>
              </a:rPr>
              <a:t> Sud </a:t>
            </a:r>
            <a:r>
              <a:rPr sz="1200" b="1" baseline="25364" dirty="0" smtClean="0">
                <a:solidFill>
                  <a:srgbClr val="76685B"/>
                </a:solidFill>
                <a:latin typeface="Arial"/>
                <a:cs typeface="Arial"/>
              </a:rPr>
              <a:t>2</a:t>
            </a:r>
            <a:r>
              <a:rPr lang="fr-BE" sz="1200" b="1" baseline="25364" dirty="0" smtClean="0">
                <a:solidFill>
                  <a:srgbClr val="76685B"/>
                </a:solidFill>
                <a:latin typeface="Arial"/>
                <a:cs typeface="Arial"/>
              </a:rPr>
              <a:t> </a:t>
            </a:r>
            <a:endParaRPr sz="8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9" name="object 89"/>
          <p:cNvSpPr txBox="1"/>
          <p:nvPr/>
        </p:nvSpPr>
        <p:spPr>
          <a:xfrm>
            <a:off x="4933570" y="1506892"/>
            <a:ext cx="231595" cy="1196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1</a:t>
            </a:r>
            <a:r>
              <a:rPr sz="1050" spc="-4" dirty="0" smtClean="0">
                <a:solidFill>
                  <a:srgbClr val="685D54"/>
                </a:solidFill>
                <a:latin typeface="Arial"/>
                <a:cs typeface="Arial"/>
              </a:rPr>
              <a:t>.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0</a:t>
            </a:r>
            <a:endParaRPr sz="105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8" name="object 88"/>
          <p:cNvSpPr txBox="1"/>
          <p:nvPr/>
        </p:nvSpPr>
        <p:spPr>
          <a:xfrm>
            <a:off x="773074" y="1518301"/>
            <a:ext cx="231396" cy="1194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1</a:t>
            </a:r>
            <a:r>
              <a:rPr sz="1050" spc="-4" dirty="0" smtClean="0">
                <a:solidFill>
                  <a:srgbClr val="685D54"/>
                </a:solidFill>
                <a:latin typeface="Arial"/>
                <a:cs typeface="Arial"/>
              </a:rPr>
              <a:t>.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0</a:t>
            </a:r>
            <a:endParaRPr sz="105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4933569" y="1761422"/>
            <a:ext cx="231396" cy="1194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0</a:t>
            </a:r>
            <a:r>
              <a:rPr sz="1050" spc="-4" dirty="0" smtClean="0">
                <a:solidFill>
                  <a:srgbClr val="685D54"/>
                </a:solidFill>
                <a:latin typeface="Arial"/>
                <a:cs typeface="Arial"/>
              </a:rPr>
              <a:t>.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8</a:t>
            </a:r>
            <a:endParaRPr sz="105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773074" y="1773217"/>
            <a:ext cx="231396" cy="1194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0</a:t>
            </a:r>
            <a:r>
              <a:rPr sz="1050" spc="-4" dirty="0" smtClean="0">
                <a:solidFill>
                  <a:srgbClr val="685D54"/>
                </a:solidFill>
                <a:latin typeface="Arial"/>
                <a:cs typeface="Arial"/>
              </a:rPr>
              <a:t>.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8</a:t>
            </a:r>
            <a:endParaRPr sz="105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8217790" y="1816907"/>
            <a:ext cx="440207" cy="4599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2859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9A8A7C"/>
                </a:solidFill>
                <a:latin typeface="Arial"/>
                <a:cs typeface="Arial"/>
              </a:rPr>
              <a:t>B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3969" marR="1143">
              <a:lnSpc>
                <a:spcPct val="95825"/>
              </a:lnSpc>
              <a:spcBef>
                <a:spcPts val="507"/>
              </a:spcBef>
            </a:pPr>
            <a:r>
              <a:rPr sz="1200" dirty="0" smtClean="0">
                <a:solidFill>
                  <a:srgbClr val="9A8A7C"/>
                </a:solidFill>
                <a:latin typeface="Arial"/>
                <a:cs typeface="Arial"/>
              </a:rPr>
              <a:t>H1N1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5112">
              <a:lnSpc>
                <a:spcPct val="95825"/>
              </a:lnSpc>
              <a:spcBef>
                <a:spcPts val="571"/>
              </a:spcBef>
            </a:pPr>
            <a:r>
              <a:rPr sz="1200" dirty="0" smtClean="0">
                <a:solidFill>
                  <a:srgbClr val="9A8A7C"/>
                </a:solidFill>
                <a:latin typeface="Arial"/>
                <a:cs typeface="Arial"/>
              </a:rPr>
              <a:t>H3N2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4933569" y="2017099"/>
            <a:ext cx="231396" cy="1194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0</a:t>
            </a:r>
            <a:r>
              <a:rPr sz="1050" spc="-4" dirty="0" smtClean="0">
                <a:solidFill>
                  <a:srgbClr val="685D54"/>
                </a:solidFill>
                <a:latin typeface="Arial"/>
                <a:cs typeface="Arial"/>
              </a:rPr>
              <a:t>.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6</a:t>
            </a:r>
            <a:endParaRPr sz="105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773074" y="2028513"/>
            <a:ext cx="231396" cy="1194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0</a:t>
            </a:r>
            <a:r>
              <a:rPr sz="1050" spc="-4" dirty="0" smtClean="0">
                <a:solidFill>
                  <a:srgbClr val="685D54"/>
                </a:solidFill>
                <a:latin typeface="Arial"/>
                <a:cs typeface="Arial"/>
              </a:rPr>
              <a:t>.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6</a:t>
            </a:r>
            <a:endParaRPr sz="105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4933569" y="2271159"/>
            <a:ext cx="231396" cy="1194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0</a:t>
            </a:r>
            <a:r>
              <a:rPr sz="1050" spc="-4" dirty="0" smtClean="0">
                <a:solidFill>
                  <a:srgbClr val="685D54"/>
                </a:solidFill>
                <a:latin typeface="Arial"/>
                <a:cs typeface="Arial"/>
              </a:rPr>
              <a:t>.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4</a:t>
            </a:r>
            <a:endParaRPr sz="105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773074" y="2283049"/>
            <a:ext cx="231396" cy="1194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0</a:t>
            </a:r>
            <a:r>
              <a:rPr sz="1050" spc="-4" dirty="0" smtClean="0">
                <a:solidFill>
                  <a:srgbClr val="685D54"/>
                </a:solidFill>
                <a:latin typeface="Arial"/>
                <a:cs typeface="Arial"/>
              </a:rPr>
              <a:t>.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4</a:t>
            </a:r>
            <a:endParaRPr sz="105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4933569" y="2525409"/>
            <a:ext cx="231396" cy="1194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0</a:t>
            </a:r>
            <a:r>
              <a:rPr sz="1050" spc="-4" dirty="0" smtClean="0">
                <a:solidFill>
                  <a:srgbClr val="685D54"/>
                </a:solidFill>
                <a:latin typeface="Arial"/>
                <a:cs typeface="Arial"/>
              </a:rPr>
              <a:t>.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2</a:t>
            </a:r>
            <a:endParaRPr sz="105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773074" y="2536823"/>
            <a:ext cx="231396" cy="1194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0</a:t>
            </a:r>
            <a:r>
              <a:rPr sz="1050" spc="-4" dirty="0" smtClean="0">
                <a:solidFill>
                  <a:srgbClr val="685D54"/>
                </a:solidFill>
                <a:latin typeface="Arial"/>
                <a:cs typeface="Arial"/>
              </a:rPr>
              <a:t>.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2</a:t>
            </a:r>
            <a:endParaRPr sz="105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4933569" y="2787744"/>
            <a:ext cx="231396" cy="1194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0</a:t>
            </a:r>
            <a:r>
              <a:rPr sz="1050" spc="-4" dirty="0" smtClean="0">
                <a:solidFill>
                  <a:srgbClr val="685D54"/>
                </a:solidFill>
                <a:latin typeface="Arial"/>
                <a:cs typeface="Arial"/>
              </a:rPr>
              <a:t>.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0</a:t>
            </a:r>
            <a:endParaRPr sz="105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773074" y="2799634"/>
            <a:ext cx="231396" cy="1194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0</a:t>
            </a:r>
            <a:r>
              <a:rPr sz="1050" spc="-4" dirty="0" smtClean="0">
                <a:solidFill>
                  <a:srgbClr val="685D54"/>
                </a:solidFill>
                <a:latin typeface="Arial"/>
                <a:cs typeface="Arial"/>
              </a:rPr>
              <a:t>.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0</a:t>
            </a:r>
            <a:endParaRPr sz="105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5177790" y="2865170"/>
            <a:ext cx="2669438" cy="2437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180"/>
              </a:lnSpc>
              <a:spcBef>
                <a:spcPts val="59"/>
              </a:spcBef>
            </a:pP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199</a:t>
            </a:r>
            <a:r>
              <a:rPr sz="1050" spc="-54" dirty="0" smtClean="0">
                <a:solidFill>
                  <a:srgbClr val="685D54"/>
                </a:solidFill>
                <a:latin typeface="Arial"/>
                <a:cs typeface="Arial"/>
              </a:rPr>
              <a:t>7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199</a:t>
            </a:r>
            <a:r>
              <a:rPr sz="1050" spc="-54" dirty="0" smtClean="0">
                <a:solidFill>
                  <a:srgbClr val="685D54"/>
                </a:solidFill>
                <a:latin typeface="Arial"/>
                <a:cs typeface="Arial"/>
              </a:rPr>
              <a:t>8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199</a:t>
            </a:r>
            <a:r>
              <a:rPr sz="1050" spc="-50" dirty="0" smtClean="0">
                <a:solidFill>
                  <a:srgbClr val="685D54"/>
                </a:solidFill>
                <a:latin typeface="Arial"/>
                <a:cs typeface="Arial"/>
              </a:rPr>
              <a:t>9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200</a:t>
            </a:r>
            <a:r>
              <a:rPr sz="1050" spc="-50" dirty="0" smtClean="0">
                <a:solidFill>
                  <a:srgbClr val="685D54"/>
                </a:solidFill>
                <a:latin typeface="Arial"/>
                <a:cs typeface="Arial"/>
              </a:rPr>
              <a:t>0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200</a:t>
            </a:r>
            <a:r>
              <a:rPr sz="1050" spc="-50" dirty="0" smtClean="0">
                <a:solidFill>
                  <a:srgbClr val="685D54"/>
                </a:solidFill>
                <a:latin typeface="Arial"/>
                <a:cs typeface="Arial"/>
              </a:rPr>
              <a:t>1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200</a:t>
            </a:r>
            <a:r>
              <a:rPr sz="1050" spc="-54" dirty="0" smtClean="0">
                <a:solidFill>
                  <a:srgbClr val="685D54"/>
                </a:solidFill>
                <a:latin typeface="Arial"/>
                <a:cs typeface="Arial"/>
              </a:rPr>
              <a:t>2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200</a:t>
            </a:r>
            <a:r>
              <a:rPr sz="1050" spc="-54" dirty="0" smtClean="0">
                <a:solidFill>
                  <a:srgbClr val="685D54"/>
                </a:solidFill>
                <a:latin typeface="Arial"/>
                <a:cs typeface="Arial"/>
              </a:rPr>
              <a:t>3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200</a:t>
            </a:r>
            <a:r>
              <a:rPr sz="1050" spc="-50" dirty="0" smtClean="0">
                <a:solidFill>
                  <a:srgbClr val="685D54"/>
                </a:solidFill>
                <a:latin typeface="Arial"/>
                <a:cs typeface="Arial"/>
              </a:rPr>
              <a:t>4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2005</a:t>
            </a:r>
            <a:endParaRPr sz="105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174775" marR="1145242" algn="ctr">
              <a:lnSpc>
                <a:spcPct val="95825"/>
              </a:lnSpc>
            </a:pPr>
            <a:r>
              <a:rPr lang="fr-BE" sz="1100" dirty="0" smtClean="0">
                <a:solidFill>
                  <a:prstClr val="black"/>
                </a:solidFill>
                <a:latin typeface="Arial"/>
                <a:cs typeface="Arial"/>
              </a:rPr>
              <a:t>Année</a:t>
            </a:r>
            <a:endParaRPr sz="11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1017525" y="2869926"/>
            <a:ext cx="2669819" cy="22534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170"/>
              </a:lnSpc>
              <a:spcBef>
                <a:spcPts val="58"/>
              </a:spcBef>
            </a:pP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199</a:t>
            </a:r>
            <a:r>
              <a:rPr sz="1050" spc="-54" dirty="0" smtClean="0">
                <a:solidFill>
                  <a:srgbClr val="685D54"/>
                </a:solidFill>
                <a:latin typeface="Arial"/>
                <a:cs typeface="Arial"/>
              </a:rPr>
              <a:t>7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199</a:t>
            </a:r>
            <a:r>
              <a:rPr sz="1050" spc="-54" dirty="0" smtClean="0">
                <a:solidFill>
                  <a:srgbClr val="685D54"/>
                </a:solidFill>
                <a:latin typeface="Arial"/>
                <a:cs typeface="Arial"/>
              </a:rPr>
              <a:t>8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199</a:t>
            </a:r>
            <a:r>
              <a:rPr sz="1050" spc="-54" dirty="0" smtClean="0">
                <a:solidFill>
                  <a:srgbClr val="685D54"/>
                </a:solidFill>
                <a:latin typeface="Arial"/>
                <a:cs typeface="Arial"/>
              </a:rPr>
              <a:t>9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200</a:t>
            </a:r>
            <a:r>
              <a:rPr sz="1050" spc="-44" dirty="0" smtClean="0">
                <a:solidFill>
                  <a:srgbClr val="685D54"/>
                </a:solidFill>
                <a:latin typeface="Arial"/>
                <a:cs typeface="Arial"/>
              </a:rPr>
              <a:t>0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200</a:t>
            </a:r>
            <a:r>
              <a:rPr sz="1050" spc="-50" dirty="0" smtClean="0">
                <a:solidFill>
                  <a:srgbClr val="685D54"/>
                </a:solidFill>
                <a:latin typeface="Arial"/>
                <a:cs typeface="Arial"/>
              </a:rPr>
              <a:t>1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200</a:t>
            </a:r>
            <a:r>
              <a:rPr sz="1050" spc="-54" dirty="0" smtClean="0">
                <a:solidFill>
                  <a:srgbClr val="685D54"/>
                </a:solidFill>
                <a:latin typeface="Arial"/>
                <a:cs typeface="Arial"/>
              </a:rPr>
              <a:t>2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200</a:t>
            </a:r>
            <a:r>
              <a:rPr sz="1050" spc="-54" dirty="0" smtClean="0">
                <a:solidFill>
                  <a:srgbClr val="685D54"/>
                </a:solidFill>
                <a:latin typeface="Arial"/>
                <a:cs typeface="Arial"/>
              </a:rPr>
              <a:t>3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200</a:t>
            </a:r>
            <a:r>
              <a:rPr sz="1050" spc="-50" dirty="0" smtClean="0">
                <a:solidFill>
                  <a:srgbClr val="685D54"/>
                </a:solidFill>
                <a:latin typeface="Arial"/>
                <a:cs typeface="Arial"/>
              </a:rPr>
              <a:t>4</a:t>
            </a:r>
            <a:r>
              <a:rPr sz="1050" dirty="0" smtClean="0">
                <a:solidFill>
                  <a:srgbClr val="685D54"/>
                </a:solidFill>
                <a:latin typeface="Arial"/>
                <a:cs typeface="Arial"/>
              </a:rPr>
              <a:t>2005</a:t>
            </a:r>
            <a:endParaRPr sz="105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154074" marR="1166324" algn="ctr">
              <a:lnSpc>
                <a:spcPts val="1120"/>
              </a:lnSpc>
            </a:pPr>
            <a:r>
              <a:rPr lang="fr-BE" sz="1100" dirty="0" smtClean="0">
                <a:solidFill>
                  <a:prstClr val="black"/>
                </a:solidFill>
                <a:latin typeface="Arial"/>
                <a:cs typeface="Arial"/>
              </a:rPr>
              <a:t>Année</a:t>
            </a:r>
            <a:endParaRPr sz="11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445109" y="3161701"/>
            <a:ext cx="7756542" cy="1077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83"/>
              </a:lnSpc>
            </a:pPr>
            <a:r>
              <a:rPr sz="900" b="1" dirty="0" smtClean="0">
                <a:solidFill>
                  <a:srgbClr val="9A8A7C"/>
                </a:solidFill>
                <a:latin typeface="Arial"/>
                <a:cs typeface="Arial"/>
              </a:rPr>
              <a:t>Stu</a:t>
            </a:r>
            <a:r>
              <a:rPr sz="900" b="1" spc="4" dirty="0" smtClean="0">
                <a:solidFill>
                  <a:srgbClr val="9A8A7C"/>
                </a:solidFill>
                <a:latin typeface="Arial"/>
                <a:cs typeface="Arial"/>
              </a:rPr>
              <a:t>d</a:t>
            </a:r>
            <a:r>
              <a:rPr sz="900" b="1" dirty="0" smtClean="0">
                <a:solidFill>
                  <a:srgbClr val="9A8A7C"/>
                </a:solidFill>
                <a:latin typeface="Arial"/>
                <a:cs typeface="Arial"/>
              </a:rPr>
              <a:t>y</a:t>
            </a:r>
            <a:r>
              <a:rPr sz="900" b="1" spc="-1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b="1" dirty="0" smtClean="0">
                <a:solidFill>
                  <a:srgbClr val="9A8A7C"/>
                </a:solidFill>
                <a:latin typeface="Arial"/>
                <a:cs typeface="Arial"/>
              </a:rPr>
              <a:t>d</a:t>
            </a:r>
            <a:r>
              <a:rPr sz="900" b="1" spc="4" dirty="0" smtClean="0">
                <a:solidFill>
                  <a:srgbClr val="9A8A7C"/>
                </a:solidFill>
                <a:latin typeface="Arial"/>
                <a:cs typeface="Arial"/>
              </a:rPr>
              <a:t>es</a:t>
            </a:r>
            <a:r>
              <a:rPr sz="900" b="1" dirty="0" smtClean="0">
                <a:solidFill>
                  <a:srgbClr val="9A8A7C"/>
                </a:solidFill>
                <a:latin typeface="Arial"/>
                <a:cs typeface="Arial"/>
              </a:rPr>
              <a:t>i</a:t>
            </a:r>
            <a:r>
              <a:rPr sz="900" b="1" spc="4" dirty="0" smtClean="0">
                <a:solidFill>
                  <a:srgbClr val="9A8A7C"/>
                </a:solidFill>
                <a:latin typeface="Arial"/>
                <a:cs typeface="Arial"/>
              </a:rPr>
              <a:t>gn</a:t>
            </a:r>
            <a:r>
              <a:rPr sz="900" b="1" baseline="28987" dirty="0" smtClean="0">
                <a:solidFill>
                  <a:srgbClr val="9A8A7C"/>
                </a:solidFill>
                <a:latin typeface="Arial"/>
                <a:cs typeface="Arial"/>
              </a:rPr>
              <a:t>2</a:t>
            </a:r>
            <a:r>
              <a:rPr sz="900" b="1" dirty="0" smtClean="0">
                <a:solidFill>
                  <a:srgbClr val="9A8A7C"/>
                </a:solidFill>
                <a:latin typeface="Arial"/>
                <a:cs typeface="Arial"/>
              </a:rPr>
              <a:t>:</a:t>
            </a:r>
            <a:r>
              <a:rPr sz="900" b="1" spc="-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anal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y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si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s</a:t>
            </a:r>
            <a:r>
              <a:rPr sz="900" spc="-2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o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f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 labo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r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a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o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r</a:t>
            </a:r>
            <a:r>
              <a:rPr sz="900" spc="9" dirty="0" smtClean="0">
                <a:solidFill>
                  <a:srgbClr val="9A8A7C"/>
                </a:solidFill>
                <a:latin typeface="Arial"/>
                <a:cs typeface="Arial"/>
              </a:rPr>
              <a:t>y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-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con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f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r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me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d</a:t>
            </a:r>
            <a:r>
              <a:rPr sz="900" spc="-5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in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f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luen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z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a</a:t>
            </a:r>
            <a:r>
              <a:rPr sz="900" spc="-1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su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r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v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eillanc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e</a:t>
            </a:r>
            <a:r>
              <a:rPr sz="900" spc="-2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da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ta</a:t>
            </a:r>
            <a:r>
              <a:rPr sz="900" spc="-1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b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y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y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p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e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 an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d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sub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y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p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e</a:t>
            </a:r>
            <a:r>
              <a:rPr sz="900" spc="-1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(A/H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3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N2,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A/H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1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N1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an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d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B)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f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r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o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m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199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7</a:t>
            </a:r>
            <a:r>
              <a:rPr sz="900" spc="-1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to</a:t>
            </a:r>
            <a:r>
              <a:rPr sz="900" spc="5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2005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.</a:t>
            </a:r>
            <a:r>
              <a:rPr sz="900" spc="-10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Da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a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-14" dirty="0" smtClean="0">
                <a:solidFill>
                  <a:srgbClr val="9A8A7C"/>
                </a:solidFill>
                <a:latin typeface="Arial"/>
                <a:cs typeface="Arial"/>
              </a:rPr>
              <a:t>w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e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re</a:t>
            </a:r>
            <a:endParaRPr sz="9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445109" y="3267558"/>
            <a:ext cx="4052620" cy="1046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collec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e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d</a:t>
            </a:r>
            <a:r>
              <a:rPr sz="900" spc="-3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f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o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r</a:t>
            </a:r>
            <a:r>
              <a:rPr sz="900" spc="-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1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9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empe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r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a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te</a:t>
            </a:r>
            <a:r>
              <a:rPr sz="900" spc="-2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coun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tr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ie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s</a:t>
            </a:r>
            <a:r>
              <a:rPr sz="900" spc="-1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n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h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e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Nor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the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rn</a:t>
            </a:r>
            <a:r>
              <a:rPr sz="900" spc="-1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an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d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S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ou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he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rn</a:t>
            </a:r>
            <a:r>
              <a:rPr sz="900" spc="1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hemisphe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r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e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s</a:t>
            </a:r>
            <a:endParaRPr sz="9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5810250" y="3310919"/>
            <a:ext cx="2038350" cy="3926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85"/>
              </a:lnSpc>
              <a:spcBef>
                <a:spcPts val="89"/>
              </a:spcBef>
            </a:pPr>
            <a:r>
              <a:rPr lang="fr-BE" sz="1600" spc="-4" dirty="0" smtClean="0">
                <a:solidFill>
                  <a:srgbClr val="9A8A7C"/>
                </a:solidFill>
                <a:latin typeface="Arial"/>
                <a:cs typeface="Arial"/>
              </a:rPr>
              <a:t>Global data</a:t>
            </a:r>
            <a:endParaRPr sz="105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02870" marR="31397">
              <a:lnSpc>
                <a:spcPct val="95825"/>
              </a:lnSpc>
              <a:spcBef>
                <a:spcPts val="801"/>
              </a:spcBef>
            </a:pPr>
            <a:r>
              <a:rPr sz="1200" b="1" spc="4" dirty="0" smtClean="0">
                <a:solidFill>
                  <a:srgbClr val="FFFFFF"/>
                </a:solidFill>
                <a:latin typeface="Arial"/>
                <a:cs typeface="Arial"/>
              </a:rPr>
              <a:t>15%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353670" y="3642285"/>
            <a:ext cx="3984239" cy="6893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6746">
              <a:lnSpc>
                <a:spcPts val="1535"/>
              </a:lnSpc>
              <a:spcBef>
                <a:spcPts val="76"/>
              </a:spcBef>
            </a:pPr>
            <a:r>
              <a:rPr sz="1400" b="1" dirty="0" smtClean="0">
                <a:solidFill>
                  <a:srgbClr val="FF0000"/>
                </a:solidFill>
                <a:latin typeface="Arial"/>
                <a:cs typeface="Arial"/>
              </a:rPr>
              <a:t>• </a:t>
            </a:r>
            <a:r>
              <a:rPr sz="1400" b="1" spc="4" dirty="0" smtClean="0">
                <a:solidFill>
                  <a:srgbClr val="FF0000"/>
                </a:solidFill>
                <a:latin typeface="Arial"/>
                <a:cs typeface="Arial"/>
              </a:rPr>
              <a:t>I</a:t>
            </a:r>
            <a:r>
              <a:rPr sz="1400" b="1" spc="-4" dirty="0" smtClean="0">
                <a:solidFill>
                  <a:srgbClr val="FF0000"/>
                </a:solidFill>
                <a:latin typeface="Arial"/>
                <a:cs typeface="Arial"/>
              </a:rPr>
              <a:t>n</a:t>
            </a:r>
            <a:r>
              <a:rPr sz="1400" b="1" dirty="0" smtClean="0">
                <a:solidFill>
                  <a:srgbClr val="FF0000"/>
                </a:solidFill>
                <a:latin typeface="Arial"/>
                <a:cs typeface="Arial"/>
              </a:rPr>
              <a:t>f</a:t>
            </a:r>
            <a:r>
              <a:rPr sz="1400" b="1" spc="4" dirty="0" smtClean="0">
                <a:solidFill>
                  <a:srgbClr val="FF0000"/>
                </a:solidFill>
                <a:latin typeface="Arial"/>
                <a:cs typeface="Arial"/>
              </a:rPr>
              <a:t>l</a:t>
            </a:r>
            <a:r>
              <a:rPr sz="1400" b="1" spc="-4" dirty="0" smtClean="0">
                <a:solidFill>
                  <a:srgbClr val="FF0000"/>
                </a:solidFill>
                <a:latin typeface="Arial"/>
                <a:cs typeface="Arial"/>
              </a:rPr>
              <a:t>u</a:t>
            </a:r>
            <a:r>
              <a:rPr sz="1400" b="1" dirty="0" smtClean="0">
                <a:solidFill>
                  <a:srgbClr val="FF0000"/>
                </a:solidFill>
                <a:latin typeface="Arial"/>
                <a:cs typeface="Arial"/>
              </a:rPr>
              <a:t>e</a:t>
            </a:r>
            <a:r>
              <a:rPr sz="1400" b="1" spc="-4" dirty="0" smtClean="0">
                <a:solidFill>
                  <a:srgbClr val="FF0000"/>
                </a:solidFill>
                <a:latin typeface="Arial"/>
                <a:cs typeface="Arial"/>
              </a:rPr>
              <a:t>n</a:t>
            </a:r>
            <a:r>
              <a:rPr sz="1400" b="1" spc="4" dirty="0" smtClean="0">
                <a:solidFill>
                  <a:srgbClr val="FF0000"/>
                </a:solidFill>
                <a:latin typeface="Arial"/>
                <a:cs typeface="Arial"/>
              </a:rPr>
              <a:t>z</a:t>
            </a:r>
            <a:r>
              <a:rPr sz="1400" b="1" dirty="0" smtClean="0">
                <a:solidFill>
                  <a:srgbClr val="FF0000"/>
                </a:solidFill>
                <a:latin typeface="Arial"/>
                <a:cs typeface="Arial"/>
              </a:rPr>
              <a:t>a</a:t>
            </a:r>
            <a:r>
              <a:rPr sz="1400" b="1" spc="-64" dirty="0" smtClean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 smtClean="0">
                <a:solidFill>
                  <a:srgbClr val="FF0000"/>
                </a:solidFill>
                <a:latin typeface="Arial"/>
                <a:cs typeface="Arial"/>
              </a:rPr>
              <a:t>B </a:t>
            </a:r>
            <a:r>
              <a:rPr lang="fr-BE" sz="1400" b="1" dirty="0" err="1" smtClean="0">
                <a:solidFill>
                  <a:srgbClr val="FF0000"/>
                </a:solidFill>
                <a:latin typeface="Arial"/>
                <a:cs typeface="Arial"/>
              </a:rPr>
              <a:t>is</a:t>
            </a:r>
            <a:r>
              <a:rPr lang="fr-BE" sz="1400" b="1" dirty="0" smtClean="0">
                <a:solidFill>
                  <a:srgbClr val="FF0000"/>
                </a:solidFill>
                <a:latin typeface="Arial"/>
                <a:cs typeface="Arial"/>
              </a:rPr>
              <a:t> more  </a:t>
            </a:r>
            <a:r>
              <a:rPr lang="fr-BE" sz="1400" b="1" dirty="0" err="1" smtClean="0">
                <a:solidFill>
                  <a:srgbClr val="FF0000"/>
                </a:solidFill>
                <a:latin typeface="Arial"/>
                <a:cs typeface="Arial"/>
              </a:rPr>
              <a:t>frequent</a:t>
            </a:r>
            <a:r>
              <a:rPr lang="fr-BE" sz="1400" b="1" dirty="0" smtClean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fr-BE" sz="1400" b="1" dirty="0" err="1" smtClean="0">
                <a:solidFill>
                  <a:srgbClr val="FF0000"/>
                </a:solidFill>
                <a:latin typeface="Arial"/>
                <a:cs typeface="Arial"/>
              </a:rPr>
              <a:t>than</a:t>
            </a:r>
            <a:r>
              <a:rPr sz="1400" b="1" spc="-25" dirty="0" smtClean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 smtClean="0">
                <a:solidFill>
                  <a:srgbClr val="FF0000"/>
                </a:solidFill>
                <a:latin typeface="Arial"/>
                <a:cs typeface="Arial"/>
              </a:rPr>
              <a:t>H1</a:t>
            </a:r>
            <a:r>
              <a:rPr sz="1400" b="1" spc="-4" dirty="0" smtClean="0">
                <a:solidFill>
                  <a:srgbClr val="FF0000"/>
                </a:solidFill>
                <a:latin typeface="Arial"/>
                <a:cs typeface="Arial"/>
              </a:rPr>
              <a:t>N</a:t>
            </a:r>
            <a:r>
              <a:rPr sz="1400" b="1" dirty="0" smtClean="0">
                <a:solidFill>
                  <a:srgbClr val="FF0000"/>
                </a:solidFill>
                <a:latin typeface="Arial"/>
                <a:cs typeface="Arial"/>
              </a:rPr>
              <a:t>1,</a:t>
            </a:r>
            <a:r>
              <a:rPr sz="1400" b="1" spc="-9" dirty="0" smtClean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fr-BE" sz="1400" b="1" spc="-9" dirty="0" smtClean="0">
                <a:solidFill>
                  <a:srgbClr val="FF0000"/>
                </a:solidFill>
                <a:latin typeface="Arial"/>
                <a:cs typeface="Arial"/>
              </a:rPr>
              <a:t>						but  </a:t>
            </a:r>
            <a:r>
              <a:rPr lang="fr-BE" sz="1400" b="1" spc="-9" dirty="0" err="1" smtClean="0">
                <a:solidFill>
                  <a:srgbClr val="FF0000"/>
                </a:solidFill>
                <a:latin typeface="Arial"/>
                <a:cs typeface="Arial"/>
              </a:rPr>
              <a:t>less</a:t>
            </a:r>
            <a:r>
              <a:rPr lang="fr-BE" sz="1400" b="1" spc="-9" dirty="0" smtClean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lang="fr-BE" sz="1400" b="1" spc="-9" dirty="0" err="1" smtClean="0">
                <a:solidFill>
                  <a:srgbClr val="FF0000"/>
                </a:solidFill>
                <a:latin typeface="Arial"/>
                <a:cs typeface="Arial"/>
              </a:rPr>
              <a:t>than</a:t>
            </a:r>
            <a:r>
              <a:rPr lang="fr-BE" sz="1400" b="1" spc="-9" dirty="0" smtClean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400" b="1" dirty="0" smtClean="0">
                <a:solidFill>
                  <a:srgbClr val="FF0000"/>
                </a:solidFill>
                <a:latin typeface="Arial"/>
                <a:cs typeface="Arial"/>
              </a:rPr>
              <a:t>H3</a:t>
            </a:r>
            <a:r>
              <a:rPr sz="1400" b="1" spc="-4" dirty="0" smtClean="0">
                <a:solidFill>
                  <a:srgbClr val="FF0000"/>
                </a:solidFill>
                <a:latin typeface="Arial"/>
                <a:cs typeface="Arial"/>
              </a:rPr>
              <a:t>N</a:t>
            </a:r>
            <a:r>
              <a:rPr sz="1400" b="1" dirty="0" smtClean="0">
                <a:solidFill>
                  <a:srgbClr val="FF0000"/>
                </a:solidFill>
                <a:latin typeface="Arial"/>
                <a:cs typeface="Arial"/>
              </a:rPr>
              <a:t>2</a:t>
            </a:r>
            <a:r>
              <a:rPr sz="1350" b="1" baseline="25767" dirty="0" smtClean="0">
                <a:solidFill>
                  <a:srgbClr val="FF0000"/>
                </a:solidFill>
                <a:latin typeface="Arial"/>
                <a:cs typeface="Arial"/>
              </a:rPr>
              <a:t>2</a:t>
            </a:r>
            <a:endParaRPr sz="900" b="1" dirty="0">
              <a:solidFill>
                <a:srgbClr val="FF0000"/>
              </a:solidFill>
              <a:latin typeface="Arial"/>
              <a:cs typeface="Arial"/>
            </a:endParaRPr>
          </a:p>
          <a:p>
            <a:pPr marL="12700">
              <a:lnSpc>
                <a:spcPct val="95825"/>
              </a:lnSpc>
              <a:spcBef>
                <a:spcPts val="670"/>
              </a:spcBef>
            </a:pPr>
            <a:r>
              <a:rPr sz="1400" b="1" dirty="0" smtClean="0">
                <a:solidFill>
                  <a:srgbClr val="FF0000"/>
                </a:solidFill>
                <a:latin typeface="Arial"/>
                <a:cs typeface="Arial"/>
              </a:rPr>
              <a:t>•</a:t>
            </a:r>
            <a:endParaRPr sz="9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8072374" y="3740951"/>
            <a:ext cx="440334" cy="5045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marR="22859">
              <a:lnSpc>
                <a:spcPts val="1325"/>
              </a:lnSpc>
              <a:spcBef>
                <a:spcPts val="66"/>
              </a:spcBef>
            </a:pPr>
            <a:r>
              <a:rPr sz="1200" dirty="0" smtClean="0">
                <a:solidFill>
                  <a:srgbClr val="9A8A7C"/>
                </a:solidFill>
                <a:latin typeface="Arial"/>
                <a:cs typeface="Arial"/>
              </a:rPr>
              <a:t>B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3970" marR="1270">
              <a:lnSpc>
                <a:spcPct val="95825"/>
              </a:lnSpc>
              <a:spcBef>
                <a:spcPts val="506"/>
              </a:spcBef>
            </a:pPr>
            <a:r>
              <a:rPr sz="1200" dirty="0" smtClean="0">
                <a:solidFill>
                  <a:srgbClr val="9A8A7C"/>
                </a:solidFill>
                <a:latin typeface="Arial"/>
                <a:cs typeface="Arial"/>
              </a:rPr>
              <a:t>H1N1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15240">
              <a:lnSpc>
                <a:spcPct val="95825"/>
              </a:lnSpc>
              <a:spcBef>
                <a:spcPts val="571"/>
              </a:spcBef>
            </a:pPr>
            <a:r>
              <a:rPr sz="1200" dirty="0" smtClean="0">
                <a:solidFill>
                  <a:srgbClr val="9A8A7C"/>
                </a:solidFill>
                <a:latin typeface="Arial"/>
                <a:cs typeface="Arial"/>
              </a:rPr>
              <a:t>H3N2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5239894" y="3856424"/>
            <a:ext cx="355041" cy="1331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b="1" spc="4" dirty="0" smtClean="0">
                <a:solidFill>
                  <a:srgbClr val="FFFFFF"/>
                </a:solidFill>
                <a:latin typeface="Arial"/>
                <a:cs typeface="Arial"/>
              </a:rPr>
              <a:t>27%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7043675" y="4008708"/>
            <a:ext cx="355041" cy="1331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325"/>
              </a:lnSpc>
              <a:spcBef>
                <a:spcPts val="66"/>
              </a:spcBef>
            </a:pPr>
            <a:r>
              <a:rPr sz="1200" b="1" spc="4" dirty="0" smtClean="0">
                <a:solidFill>
                  <a:srgbClr val="FFFFFF"/>
                </a:solidFill>
                <a:latin typeface="Arial"/>
                <a:cs typeface="Arial"/>
              </a:rPr>
              <a:t>68%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78741" y="4833770"/>
            <a:ext cx="8491385" cy="2073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1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.</a:t>
            </a:r>
            <a:r>
              <a:rPr sz="900" spc="-1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Br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amme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r</a:t>
            </a:r>
            <a:r>
              <a:rPr sz="900" spc="-1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-9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L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,</a:t>
            </a:r>
            <a:r>
              <a:rPr sz="900" spc="1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i="1" spc="4" dirty="0" smtClean="0">
                <a:solidFill>
                  <a:srgbClr val="9A8A7C"/>
                </a:solidFill>
                <a:latin typeface="Arial"/>
                <a:cs typeface="Arial"/>
              </a:rPr>
              <a:t>e</a:t>
            </a:r>
            <a:r>
              <a:rPr sz="900" i="1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i="1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i="1" spc="4" dirty="0" smtClean="0">
                <a:solidFill>
                  <a:srgbClr val="9A8A7C"/>
                </a:solidFill>
                <a:latin typeface="Arial"/>
                <a:cs typeface="Arial"/>
              </a:rPr>
              <a:t>al</a:t>
            </a:r>
            <a:r>
              <a:rPr sz="900" i="1" dirty="0" smtClean="0">
                <a:solidFill>
                  <a:srgbClr val="9A8A7C"/>
                </a:solidFill>
                <a:latin typeface="Arial"/>
                <a:cs typeface="Arial"/>
              </a:rPr>
              <a:t>.</a:t>
            </a:r>
            <a:r>
              <a:rPr sz="900" i="1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S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u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r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v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eillanc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e</a:t>
            </a:r>
            <a:r>
              <a:rPr sz="900" spc="-2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f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o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r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in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f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luen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z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a</a:t>
            </a:r>
            <a:r>
              <a:rPr sz="900" spc="-1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–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Un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i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e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d</a:t>
            </a:r>
            <a:r>
              <a:rPr sz="900" spc="-1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St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a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es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,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199</a:t>
            </a:r>
            <a:r>
              <a:rPr sz="900" spc="14" dirty="0" smtClean="0">
                <a:solidFill>
                  <a:srgbClr val="9A8A7C"/>
                </a:solidFill>
                <a:latin typeface="Arial"/>
                <a:cs typeface="Arial"/>
              </a:rPr>
              <a:t>4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–95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,</a:t>
            </a:r>
            <a:r>
              <a:rPr sz="900" spc="-2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199</a:t>
            </a:r>
            <a:r>
              <a:rPr sz="900" spc="9" dirty="0" smtClean="0">
                <a:solidFill>
                  <a:srgbClr val="9A8A7C"/>
                </a:solidFill>
                <a:latin typeface="Arial"/>
                <a:cs typeface="Arial"/>
              </a:rPr>
              <a:t>5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–96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,</a:t>
            </a:r>
            <a:r>
              <a:rPr sz="900" spc="-2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an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d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199</a:t>
            </a:r>
            <a:r>
              <a:rPr sz="900" spc="9" dirty="0" smtClean="0">
                <a:solidFill>
                  <a:srgbClr val="9A8A7C"/>
                </a:solidFill>
                <a:latin typeface="Arial"/>
                <a:cs typeface="Arial"/>
              </a:rPr>
              <a:t>6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–9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7</a:t>
            </a:r>
            <a:r>
              <a:rPr sz="900" spc="-1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season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s</a:t>
            </a:r>
            <a:r>
              <a:rPr sz="900" spc="-1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2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.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(A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dap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e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d</a:t>
            </a:r>
            <a:r>
              <a:rPr sz="900" spc="-1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fr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om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) F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inkelma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n</a:t>
            </a:r>
            <a:r>
              <a:rPr sz="900" spc="-3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i="1" spc="4" dirty="0" smtClean="0">
                <a:solidFill>
                  <a:srgbClr val="9A8A7C"/>
                </a:solidFill>
                <a:latin typeface="Arial"/>
                <a:cs typeface="Arial"/>
              </a:rPr>
              <a:t>e</a:t>
            </a:r>
            <a:r>
              <a:rPr sz="900" i="1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i="1" spc="4" dirty="0" smtClean="0">
                <a:solidFill>
                  <a:srgbClr val="9A8A7C"/>
                </a:solidFill>
                <a:latin typeface="Arial"/>
                <a:cs typeface="Arial"/>
              </a:rPr>
              <a:t> al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.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i="1" dirty="0" smtClean="0">
                <a:solidFill>
                  <a:srgbClr val="9A8A7C"/>
                </a:solidFill>
                <a:latin typeface="Arial"/>
                <a:cs typeface="Arial"/>
              </a:rPr>
              <a:t>P</a:t>
            </a:r>
            <a:r>
              <a:rPr sz="900" i="1" spc="4" dirty="0" smtClean="0">
                <a:solidFill>
                  <a:srgbClr val="9A8A7C"/>
                </a:solidFill>
                <a:latin typeface="Arial"/>
                <a:cs typeface="Arial"/>
              </a:rPr>
              <a:t>Lo</a:t>
            </a:r>
            <a:r>
              <a:rPr sz="900" i="1" dirty="0" smtClean="0">
                <a:solidFill>
                  <a:srgbClr val="9A8A7C"/>
                </a:solidFill>
                <a:latin typeface="Arial"/>
                <a:cs typeface="Arial"/>
              </a:rPr>
              <a:t>S</a:t>
            </a:r>
            <a:r>
              <a:rPr sz="900" i="1" spc="-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i="1" spc="-4" dirty="0" smtClean="0">
                <a:solidFill>
                  <a:srgbClr val="9A8A7C"/>
                </a:solidFill>
                <a:latin typeface="Arial"/>
                <a:cs typeface="Arial"/>
              </a:rPr>
              <a:t>O</a:t>
            </a:r>
            <a:r>
              <a:rPr sz="900" i="1" spc="4" dirty="0" smtClean="0">
                <a:solidFill>
                  <a:srgbClr val="9A8A7C"/>
                </a:solidFill>
                <a:latin typeface="Arial"/>
                <a:cs typeface="Arial"/>
              </a:rPr>
              <a:t>n</a:t>
            </a:r>
            <a:r>
              <a:rPr sz="900" i="1" dirty="0" smtClean="0">
                <a:solidFill>
                  <a:srgbClr val="9A8A7C"/>
                </a:solidFill>
                <a:latin typeface="Arial"/>
                <a:cs typeface="Arial"/>
              </a:rPr>
              <a:t>e</a:t>
            </a:r>
            <a:r>
              <a:rPr sz="900" i="1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2007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;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2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: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e129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6</a:t>
            </a:r>
            <a:endParaRPr sz="9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2700" marR="17145">
              <a:lnSpc>
                <a:spcPct val="95825"/>
              </a:lnSpc>
            </a:pP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3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.</a:t>
            </a:r>
            <a:r>
              <a:rPr sz="900" spc="-1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F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alca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o</a:t>
            </a:r>
            <a:r>
              <a:rPr sz="900" spc="-1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i="1" spc="4" dirty="0" smtClean="0">
                <a:solidFill>
                  <a:srgbClr val="9A8A7C"/>
                </a:solidFill>
                <a:latin typeface="Arial"/>
                <a:cs typeface="Arial"/>
              </a:rPr>
              <a:t>e</a:t>
            </a:r>
            <a:r>
              <a:rPr sz="900" i="1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i="1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i="1" spc="4" dirty="0" smtClean="0">
                <a:solidFill>
                  <a:srgbClr val="9A8A7C"/>
                </a:solidFill>
                <a:latin typeface="Arial"/>
                <a:cs typeface="Arial"/>
              </a:rPr>
              <a:t>al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.</a:t>
            </a:r>
            <a:r>
              <a:rPr sz="900" spc="-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i="1" dirty="0" smtClean="0">
                <a:solidFill>
                  <a:srgbClr val="9A8A7C"/>
                </a:solidFill>
                <a:latin typeface="Arial"/>
                <a:cs typeface="Arial"/>
              </a:rPr>
              <a:t>J</a:t>
            </a:r>
            <a:r>
              <a:rPr sz="900" i="1" spc="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i="1" dirty="0" smtClean="0">
                <a:solidFill>
                  <a:srgbClr val="9A8A7C"/>
                </a:solidFill>
                <a:latin typeface="Arial"/>
                <a:cs typeface="Arial"/>
              </a:rPr>
              <a:t>E</a:t>
            </a:r>
            <a:r>
              <a:rPr sz="900" i="1" spc="4" dirty="0" smtClean="0">
                <a:solidFill>
                  <a:srgbClr val="9A8A7C"/>
                </a:solidFill>
                <a:latin typeface="Arial"/>
                <a:cs typeface="Arial"/>
              </a:rPr>
              <a:t>pide</a:t>
            </a:r>
            <a:r>
              <a:rPr sz="900" i="1" spc="-4" dirty="0" smtClean="0">
                <a:solidFill>
                  <a:srgbClr val="9A8A7C"/>
                </a:solidFill>
                <a:latin typeface="Arial"/>
                <a:cs typeface="Arial"/>
              </a:rPr>
              <a:t>m</a:t>
            </a:r>
            <a:r>
              <a:rPr sz="900" i="1" spc="4" dirty="0" smtClean="0">
                <a:solidFill>
                  <a:srgbClr val="9A8A7C"/>
                </a:solidFill>
                <a:latin typeface="Arial"/>
                <a:cs typeface="Arial"/>
              </a:rPr>
              <a:t>io</a:t>
            </a:r>
            <a:r>
              <a:rPr sz="900" i="1" dirty="0" smtClean="0">
                <a:solidFill>
                  <a:srgbClr val="9A8A7C"/>
                </a:solidFill>
                <a:latin typeface="Arial"/>
                <a:cs typeface="Arial"/>
              </a:rPr>
              <a:t>l</a:t>
            </a:r>
            <a:r>
              <a:rPr sz="900" i="1" spc="-1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i="1" dirty="0" smtClean="0">
                <a:solidFill>
                  <a:srgbClr val="9A8A7C"/>
                </a:solidFill>
                <a:latin typeface="Arial"/>
                <a:cs typeface="Arial"/>
              </a:rPr>
              <a:t>Co</a:t>
            </a:r>
            <a:r>
              <a:rPr sz="900" i="1" spc="-4" dirty="0" smtClean="0">
                <a:solidFill>
                  <a:srgbClr val="9A8A7C"/>
                </a:solidFill>
                <a:latin typeface="Arial"/>
                <a:cs typeface="Arial"/>
              </a:rPr>
              <a:t>mm</a:t>
            </a:r>
            <a:r>
              <a:rPr sz="900" i="1" spc="4" dirty="0" smtClean="0">
                <a:solidFill>
                  <a:srgbClr val="9A8A7C"/>
                </a:solidFill>
                <a:latin typeface="Arial"/>
                <a:cs typeface="Arial"/>
              </a:rPr>
              <a:t>uni</a:t>
            </a:r>
            <a:r>
              <a:rPr sz="900" i="1" dirty="0" smtClean="0">
                <a:solidFill>
                  <a:srgbClr val="9A8A7C"/>
                </a:solidFill>
                <a:latin typeface="Arial"/>
                <a:cs typeface="Arial"/>
              </a:rPr>
              <a:t>ty He</a:t>
            </a:r>
            <a:r>
              <a:rPr sz="900" i="1" spc="4" dirty="0" smtClean="0">
                <a:solidFill>
                  <a:srgbClr val="9A8A7C"/>
                </a:solidFill>
                <a:latin typeface="Arial"/>
                <a:cs typeface="Arial"/>
              </a:rPr>
              <a:t>al</a:t>
            </a:r>
            <a:r>
              <a:rPr sz="900" i="1" dirty="0" smtClean="0">
                <a:solidFill>
                  <a:srgbClr val="9A8A7C"/>
                </a:solidFill>
                <a:latin typeface="Arial"/>
                <a:cs typeface="Arial"/>
              </a:rPr>
              <a:t>th</a:t>
            </a:r>
            <a:r>
              <a:rPr sz="900" i="1" spc="-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1998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;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52</a:t>
            </a:r>
            <a:r>
              <a:rPr sz="900" spc="9" dirty="0" smtClean="0">
                <a:solidFill>
                  <a:srgbClr val="9A8A7C"/>
                </a:solidFill>
                <a:latin typeface="Arial"/>
                <a:cs typeface="Arial"/>
              </a:rPr>
              <a:t>(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S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upp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l</a:t>
            </a:r>
            <a:r>
              <a:rPr sz="900" spc="-25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1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):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39S–42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S;</a:t>
            </a:r>
            <a:r>
              <a:rPr sz="900" spc="-2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4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.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-9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hompso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n</a:t>
            </a:r>
            <a:r>
              <a:rPr sz="900" spc="-9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i="1" spc="4" dirty="0" smtClean="0">
                <a:solidFill>
                  <a:srgbClr val="9A8A7C"/>
                </a:solidFill>
                <a:latin typeface="Arial"/>
                <a:cs typeface="Arial"/>
              </a:rPr>
              <a:t>e</a:t>
            </a:r>
            <a:r>
              <a:rPr sz="900" i="1" dirty="0" smtClean="0">
                <a:solidFill>
                  <a:srgbClr val="9A8A7C"/>
                </a:solidFill>
                <a:latin typeface="Arial"/>
                <a:cs typeface="Arial"/>
              </a:rPr>
              <a:t>t</a:t>
            </a:r>
            <a:r>
              <a:rPr sz="900" i="1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i="1" spc="4" dirty="0" smtClean="0">
                <a:solidFill>
                  <a:srgbClr val="9A8A7C"/>
                </a:solidFill>
                <a:latin typeface="Arial"/>
                <a:cs typeface="Arial"/>
              </a:rPr>
              <a:t>al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.</a:t>
            </a:r>
            <a:r>
              <a:rPr sz="900" spc="-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i="1" spc="4" dirty="0" smtClean="0">
                <a:solidFill>
                  <a:srgbClr val="9A8A7C"/>
                </a:solidFill>
                <a:latin typeface="Arial"/>
                <a:cs typeface="Arial"/>
              </a:rPr>
              <a:t>J</a:t>
            </a:r>
            <a:r>
              <a:rPr sz="900" i="1" dirty="0" smtClean="0">
                <a:solidFill>
                  <a:srgbClr val="9A8A7C"/>
                </a:solidFill>
                <a:latin typeface="Arial"/>
                <a:cs typeface="Arial"/>
              </a:rPr>
              <a:t>A</a:t>
            </a:r>
            <a:r>
              <a:rPr sz="900" i="1" spc="-19" dirty="0" smtClean="0">
                <a:solidFill>
                  <a:srgbClr val="9A8A7C"/>
                </a:solidFill>
                <a:latin typeface="Arial"/>
                <a:cs typeface="Arial"/>
              </a:rPr>
              <a:t>M</a:t>
            </a:r>
            <a:r>
              <a:rPr sz="900" i="1" dirty="0" smtClean="0">
                <a:solidFill>
                  <a:srgbClr val="9A8A7C"/>
                </a:solidFill>
                <a:latin typeface="Arial"/>
                <a:cs typeface="Arial"/>
              </a:rPr>
              <a:t>A</a:t>
            </a:r>
            <a:r>
              <a:rPr sz="900" i="1" spc="14" dirty="0" smtClean="0">
                <a:solidFill>
                  <a:srgbClr val="9A8A7C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2003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;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289</a:t>
            </a: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: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17</a:t>
            </a:r>
            <a:r>
              <a:rPr sz="900" spc="9" dirty="0" smtClean="0">
                <a:solidFill>
                  <a:srgbClr val="9A8A7C"/>
                </a:solidFill>
                <a:latin typeface="Arial"/>
                <a:cs typeface="Arial"/>
              </a:rPr>
              <a:t>9</a:t>
            </a:r>
            <a:r>
              <a:rPr sz="900" spc="4" dirty="0" smtClean="0">
                <a:solidFill>
                  <a:srgbClr val="9A8A7C"/>
                </a:solidFill>
                <a:latin typeface="Arial"/>
                <a:cs typeface="Arial"/>
              </a:rPr>
              <a:t>–</a:t>
            </a:r>
            <a:r>
              <a:rPr sz="900" spc="-9" dirty="0" smtClean="0">
                <a:solidFill>
                  <a:srgbClr val="9A8A7C"/>
                </a:solidFill>
                <a:latin typeface="Arial"/>
                <a:cs typeface="Arial"/>
              </a:rPr>
              <a:t>86</a:t>
            </a:r>
            <a:endParaRPr sz="9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8890255" y="4941290"/>
            <a:ext cx="106095" cy="1046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srgbClr val="9A8A7C"/>
                </a:solidFill>
                <a:latin typeface="Arial"/>
                <a:cs typeface="Arial"/>
              </a:rPr>
              <a:t>9</a:t>
            </a:r>
            <a:endParaRPr sz="9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5" name="object 65"/>
          <p:cNvSpPr txBox="1"/>
          <p:nvPr/>
        </p:nvSpPr>
        <p:spPr>
          <a:xfrm rot="5400000">
            <a:off x="8385669" y="3886732"/>
            <a:ext cx="1293848" cy="1295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BE/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FL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U/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0013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/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15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(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900" spc="9" dirty="0" smtClean="0">
                <a:solidFill>
                  <a:prstClr val="black"/>
                </a:solidFill>
                <a:latin typeface="Arial"/>
                <a:cs typeface="Arial"/>
              </a:rPr>
              <a:t>)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900" spc="-4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ugus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900" spc="-1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201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5</a:t>
            </a:r>
            <a:endParaRPr sz="9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4" name="object 64"/>
          <p:cNvSpPr txBox="1"/>
          <p:nvPr/>
        </p:nvSpPr>
        <p:spPr>
          <a:xfrm rot="16200000">
            <a:off x="-197417" y="1979666"/>
            <a:ext cx="1263957" cy="5100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230"/>
              </a:lnSpc>
              <a:spcBef>
                <a:spcPts val="61"/>
              </a:spcBef>
            </a:pPr>
            <a:r>
              <a:rPr sz="1100" spc="-19" dirty="0" smtClean="0">
                <a:solidFill>
                  <a:srgbClr val="685D54"/>
                </a:solidFill>
                <a:latin typeface="Arial"/>
                <a:cs typeface="Arial"/>
              </a:rPr>
              <a:t>M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e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a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n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propor</a:t>
            </a:r>
            <a:r>
              <a:rPr sz="1100" spc="4" dirty="0" smtClean="0">
                <a:solidFill>
                  <a:srgbClr val="685D54"/>
                </a:solidFill>
                <a:latin typeface="Arial"/>
                <a:cs typeface="Arial"/>
              </a:rPr>
              <a:t>t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i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on</a:t>
            </a:r>
            <a:r>
              <a:rPr sz="1100" spc="-19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of</a:t>
            </a:r>
            <a:r>
              <a:rPr sz="1100" spc="-14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a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n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n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u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al</a:t>
            </a:r>
            <a:endParaRPr sz="11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266852" marR="278556" algn="ctr">
              <a:lnSpc>
                <a:spcPct val="95825"/>
              </a:lnSpc>
            </a:pP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i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n</a:t>
            </a:r>
            <a:r>
              <a:rPr sz="1100" spc="14" dirty="0" smtClean="0">
                <a:solidFill>
                  <a:srgbClr val="685D54"/>
                </a:solidFill>
                <a:latin typeface="Arial"/>
                <a:cs typeface="Arial"/>
              </a:rPr>
              <a:t>f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l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u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e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n</a:t>
            </a:r>
            <a:r>
              <a:rPr sz="1100" spc="-14" dirty="0" smtClean="0">
                <a:solidFill>
                  <a:srgbClr val="685D54"/>
                </a:solidFill>
                <a:latin typeface="Arial"/>
                <a:cs typeface="Arial"/>
              </a:rPr>
              <a:t>z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a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 i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so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l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ates</a:t>
            </a:r>
            <a:endParaRPr sz="11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3" name="object 63"/>
          <p:cNvSpPr txBox="1"/>
          <p:nvPr/>
        </p:nvSpPr>
        <p:spPr>
          <a:xfrm rot="16200000">
            <a:off x="3940023" y="2003661"/>
            <a:ext cx="1263957" cy="4320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230"/>
              </a:lnSpc>
              <a:spcBef>
                <a:spcPts val="61"/>
              </a:spcBef>
            </a:pPr>
            <a:r>
              <a:rPr sz="1100" spc="-19" dirty="0" smtClean="0">
                <a:solidFill>
                  <a:srgbClr val="685D54"/>
                </a:solidFill>
                <a:latin typeface="Arial"/>
                <a:cs typeface="Arial"/>
              </a:rPr>
              <a:t>M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e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a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n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propor</a:t>
            </a:r>
            <a:r>
              <a:rPr sz="1100" spc="4" dirty="0" smtClean="0">
                <a:solidFill>
                  <a:srgbClr val="685D54"/>
                </a:solidFill>
                <a:latin typeface="Arial"/>
                <a:cs typeface="Arial"/>
              </a:rPr>
              <a:t>t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i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on</a:t>
            </a:r>
            <a:r>
              <a:rPr sz="1100" spc="-19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of</a:t>
            </a:r>
            <a:r>
              <a:rPr sz="1100" spc="-14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a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n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n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u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al</a:t>
            </a:r>
            <a:endParaRPr sz="11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266852" marR="278556" algn="ctr">
              <a:lnSpc>
                <a:spcPct val="95825"/>
              </a:lnSpc>
            </a:pP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i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n</a:t>
            </a:r>
            <a:r>
              <a:rPr sz="1100" spc="14" dirty="0" smtClean="0">
                <a:solidFill>
                  <a:srgbClr val="685D54"/>
                </a:solidFill>
                <a:latin typeface="Arial"/>
                <a:cs typeface="Arial"/>
              </a:rPr>
              <a:t>f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l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u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e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n</a:t>
            </a:r>
            <a:r>
              <a:rPr sz="1100" spc="-14" dirty="0" smtClean="0">
                <a:solidFill>
                  <a:srgbClr val="685D54"/>
                </a:solidFill>
                <a:latin typeface="Arial"/>
                <a:cs typeface="Arial"/>
              </a:rPr>
              <a:t>z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a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 i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so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l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ates</a:t>
            </a:r>
            <a:endParaRPr sz="11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7876032" y="4131589"/>
            <a:ext cx="108000" cy="808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</a:pPr>
            <a:endParaRPr sz="850">
              <a:solidFill>
                <a:prstClr val="black"/>
              </a:solidFill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7874761" y="3945929"/>
            <a:ext cx="108000" cy="808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</a:pPr>
            <a:endParaRPr sz="850">
              <a:solidFill>
                <a:prstClr val="black"/>
              </a:solidFill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7873493" y="3760163"/>
            <a:ext cx="107999" cy="808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</a:pPr>
            <a:endParaRPr sz="850">
              <a:solidFill>
                <a:prstClr val="black"/>
              </a:solidFill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8021321" y="2208125"/>
            <a:ext cx="107999" cy="808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</a:pPr>
            <a:endParaRPr sz="850">
              <a:solidFill>
                <a:prstClr val="black"/>
              </a:solidFill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8020050" y="2022359"/>
            <a:ext cx="108000" cy="808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</a:pPr>
            <a:endParaRPr sz="850">
              <a:solidFill>
                <a:prstClr val="black"/>
              </a:solidFill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8018653" y="1836689"/>
            <a:ext cx="108000" cy="808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</a:pPr>
            <a:endParaRPr sz="850">
              <a:solidFill>
                <a:prstClr val="black"/>
              </a:solidFill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7566153" y="1571680"/>
            <a:ext cx="217881" cy="2877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7566153" y="1859460"/>
            <a:ext cx="217881" cy="1830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7566153" y="2042514"/>
            <a:ext cx="217881" cy="3571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7566153" y="2078231"/>
            <a:ext cx="217881" cy="7644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7274560" y="1571729"/>
            <a:ext cx="217881" cy="2698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7274560" y="1841577"/>
            <a:ext cx="217881" cy="9987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6982842" y="1584783"/>
            <a:ext cx="216687" cy="1878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6982842" y="1772617"/>
            <a:ext cx="216687" cy="4280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6982842" y="1815421"/>
            <a:ext cx="216687" cy="10248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6689853" y="1571680"/>
            <a:ext cx="217881" cy="6580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6689853" y="2229777"/>
            <a:ext cx="217881" cy="41673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6689853" y="2646513"/>
            <a:ext cx="217881" cy="1961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6398261" y="1571680"/>
            <a:ext cx="217881" cy="1938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6398261" y="1765530"/>
            <a:ext cx="217881" cy="2377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6398261" y="2003278"/>
            <a:ext cx="217881" cy="6361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6398261" y="2639426"/>
            <a:ext cx="217881" cy="2008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6106542" y="1571681"/>
            <a:ext cx="217881" cy="1849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6106542" y="1756589"/>
            <a:ext cx="217881" cy="8608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6106542" y="2617406"/>
            <a:ext cx="217881" cy="2181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814823" y="1571680"/>
            <a:ext cx="216687" cy="3073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814823" y="1879030"/>
            <a:ext cx="216687" cy="564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43"/>
              </a:spcBef>
            </a:pPr>
            <a:endParaRPr sz="550">
              <a:solidFill>
                <a:prstClr val="black"/>
              </a:solidFill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814823" y="1935507"/>
            <a:ext cx="216687" cy="1058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814823" y="2041326"/>
            <a:ext cx="216687" cy="7918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523104" y="1571680"/>
            <a:ext cx="216687" cy="880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5"/>
              </a:spcBef>
            </a:pPr>
            <a:endParaRPr sz="900">
              <a:solidFill>
                <a:prstClr val="black"/>
              </a:solidFill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523104" y="1659688"/>
            <a:ext cx="216687" cy="3989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523104" y="2058589"/>
            <a:ext cx="216687" cy="7793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230242" y="1571680"/>
            <a:ext cx="217881" cy="75264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230242" y="2324324"/>
            <a:ext cx="217881" cy="1967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230242" y="2521123"/>
            <a:ext cx="217881" cy="3180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3406522" y="1568114"/>
            <a:ext cx="217881" cy="67949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406522" y="2247612"/>
            <a:ext cx="217881" cy="2621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3406522" y="2509781"/>
            <a:ext cx="217881" cy="3352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114802" y="1568161"/>
            <a:ext cx="216700" cy="30378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114802" y="1871944"/>
            <a:ext cx="216700" cy="969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114802" y="1968845"/>
            <a:ext cx="216700" cy="8774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531492" y="1568161"/>
            <a:ext cx="216687" cy="6432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531492" y="2211396"/>
            <a:ext cx="216687" cy="499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25"/>
              </a:spcBef>
            </a:pPr>
            <a:endParaRPr sz="500">
              <a:solidFill>
                <a:prstClr val="black"/>
              </a:solidFill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531492" y="2261333"/>
            <a:ext cx="216687" cy="844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37"/>
              </a:spcBef>
            </a:pPr>
            <a:endParaRPr sz="850">
              <a:solidFill>
                <a:prstClr val="black"/>
              </a:solidFill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531492" y="2345750"/>
            <a:ext cx="216687" cy="4862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946911" y="1568161"/>
            <a:ext cx="217881" cy="4351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946911" y="2003325"/>
            <a:ext cx="217881" cy="7942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946911" y="2797536"/>
            <a:ext cx="217881" cy="427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823210" y="1581168"/>
            <a:ext cx="216700" cy="12543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239772" y="1568113"/>
            <a:ext cx="216700" cy="3329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239772" y="1901027"/>
            <a:ext cx="216700" cy="309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239772" y="1931940"/>
            <a:ext cx="216700" cy="52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6"/>
              </a:spcBef>
            </a:pPr>
            <a:endParaRPr sz="550">
              <a:solidFill>
                <a:prstClr val="black"/>
              </a:solidFill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239772" y="1984873"/>
            <a:ext cx="216700" cy="8471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655192" y="1581216"/>
            <a:ext cx="217881" cy="1242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655192" y="1705487"/>
            <a:ext cx="217881" cy="11313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363473" y="1568161"/>
            <a:ext cx="216687" cy="4139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363473" y="1982067"/>
            <a:ext cx="216687" cy="85025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071753" y="1568161"/>
            <a:ext cx="216700" cy="1580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1071753" y="1726247"/>
            <a:ext cx="216700" cy="3571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071753" y="1761964"/>
            <a:ext cx="216700" cy="1247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1071753" y="1886735"/>
            <a:ext cx="216700" cy="96071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object 128"/>
          <p:cNvSpPr/>
          <p:nvPr/>
        </p:nvSpPr>
        <p:spPr>
          <a:xfrm>
            <a:off x="-85217" y="-93597"/>
            <a:ext cx="9144000" cy="513636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2351532" y="1887900"/>
            <a:ext cx="222504" cy="982577"/>
          </a:xfrm>
          <a:custGeom>
            <a:avLst/>
            <a:gdLst/>
            <a:ahLst/>
            <a:cxnLst/>
            <a:rect l="l" t="t" r="r" b="b"/>
            <a:pathLst>
              <a:path w="222504" h="1311922">
                <a:moveTo>
                  <a:pt x="0" y="1311922"/>
                </a:moveTo>
                <a:lnTo>
                  <a:pt x="222504" y="1311922"/>
                </a:lnTo>
                <a:lnTo>
                  <a:pt x="222504" y="0"/>
                </a:lnTo>
                <a:lnTo>
                  <a:pt x="0" y="0"/>
                </a:lnTo>
                <a:lnTo>
                  <a:pt x="0" y="1311922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2351532" y="3066411"/>
            <a:ext cx="222504" cy="777873"/>
          </a:xfrm>
          <a:custGeom>
            <a:avLst/>
            <a:gdLst/>
            <a:ahLst/>
            <a:cxnLst/>
            <a:rect l="l" t="t" r="r" b="b"/>
            <a:pathLst>
              <a:path w="222504" h="1038605">
                <a:moveTo>
                  <a:pt x="0" y="1038605"/>
                </a:moveTo>
                <a:lnTo>
                  <a:pt x="222504" y="1038605"/>
                </a:lnTo>
                <a:lnTo>
                  <a:pt x="222504" y="0"/>
                </a:lnTo>
                <a:lnTo>
                  <a:pt x="0" y="0"/>
                </a:lnTo>
                <a:lnTo>
                  <a:pt x="0" y="1038605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2909317" y="2474587"/>
            <a:ext cx="222503" cy="395890"/>
          </a:xfrm>
          <a:custGeom>
            <a:avLst/>
            <a:gdLst/>
            <a:ahLst/>
            <a:cxnLst/>
            <a:rect l="l" t="t" r="r" b="b"/>
            <a:pathLst>
              <a:path w="222503" h="528586">
                <a:moveTo>
                  <a:pt x="0" y="528586"/>
                </a:moveTo>
                <a:lnTo>
                  <a:pt x="222503" y="528586"/>
                </a:lnTo>
                <a:lnTo>
                  <a:pt x="222503" y="0"/>
                </a:lnTo>
                <a:lnTo>
                  <a:pt x="0" y="0"/>
                </a:lnTo>
                <a:lnTo>
                  <a:pt x="0" y="528586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2909317" y="3066411"/>
            <a:ext cx="222503" cy="777874"/>
          </a:xfrm>
          <a:custGeom>
            <a:avLst/>
            <a:gdLst/>
            <a:ahLst/>
            <a:cxnLst/>
            <a:rect l="l" t="t" r="r" b="b"/>
            <a:pathLst>
              <a:path w="222503" h="1038606">
                <a:moveTo>
                  <a:pt x="0" y="1038606"/>
                </a:moveTo>
                <a:lnTo>
                  <a:pt x="222503" y="1038606"/>
                </a:lnTo>
                <a:lnTo>
                  <a:pt x="222503" y="0"/>
                </a:lnTo>
                <a:lnTo>
                  <a:pt x="0" y="0"/>
                </a:lnTo>
                <a:lnTo>
                  <a:pt x="0" y="1038606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3467101" y="3623992"/>
            <a:ext cx="224027" cy="220292"/>
          </a:xfrm>
          <a:custGeom>
            <a:avLst/>
            <a:gdLst/>
            <a:ahLst/>
            <a:cxnLst/>
            <a:rect l="l" t="t" r="r" b="b"/>
            <a:pathLst>
              <a:path w="224027" h="294131">
                <a:moveTo>
                  <a:pt x="0" y="0"/>
                </a:moveTo>
                <a:lnTo>
                  <a:pt x="0" y="294131"/>
                </a:lnTo>
                <a:lnTo>
                  <a:pt x="224027" y="294131"/>
                </a:lnTo>
                <a:lnTo>
                  <a:pt x="224027" y="0"/>
                </a:lnTo>
                <a:lnTo>
                  <a:pt x="0" y="0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4024885" y="2767931"/>
            <a:ext cx="224027" cy="90561"/>
          </a:xfrm>
          <a:custGeom>
            <a:avLst/>
            <a:gdLst/>
            <a:ahLst/>
            <a:cxnLst/>
            <a:rect l="l" t="t" r="r" b="b"/>
            <a:pathLst>
              <a:path w="224027" h="120916">
                <a:moveTo>
                  <a:pt x="0" y="120916"/>
                </a:moveTo>
                <a:lnTo>
                  <a:pt x="224027" y="120916"/>
                </a:lnTo>
                <a:lnTo>
                  <a:pt x="224027" y="0"/>
                </a:lnTo>
                <a:lnTo>
                  <a:pt x="0" y="0"/>
                </a:lnTo>
                <a:lnTo>
                  <a:pt x="0" y="120916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4024885" y="3054426"/>
            <a:ext cx="224027" cy="789858"/>
          </a:xfrm>
          <a:custGeom>
            <a:avLst/>
            <a:gdLst/>
            <a:ahLst/>
            <a:cxnLst/>
            <a:rect l="l" t="t" r="r" b="b"/>
            <a:pathLst>
              <a:path w="224027" h="1054607">
                <a:moveTo>
                  <a:pt x="0" y="1054607"/>
                </a:moveTo>
                <a:lnTo>
                  <a:pt x="224027" y="1054607"/>
                </a:lnTo>
                <a:lnTo>
                  <a:pt x="224027" y="0"/>
                </a:lnTo>
                <a:lnTo>
                  <a:pt x="0" y="0"/>
                </a:lnTo>
                <a:lnTo>
                  <a:pt x="0" y="1054607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4582668" y="1424486"/>
            <a:ext cx="224028" cy="1434006"/>
          </a:xfrm>
          <a:custGeom>
            <a:avLst/>
            <a:gdLst/>
            <a:ahLst/>
            <a:cxnLst/>
            <a:rect l="l" t="t" r="r" b="b"/>
            <a:pathLst>
              <a:path w="224028" h="1914664">
                <a:moveTo>
                  <a:pt x="0" y="1914664"/>
                </a:moveTo>
                <a:lnTo>
                  <a:pt x="224028" y="1914664"/>
                </a:lnTo>
                <a:lnTo>
                  <a:pt x="224028" y="0"/>
                </a:lnTo>
                <a:lnTo>
                  <a:pt x="0" y="0"/>
                </a:lnTo>
                <a:lnTo>
                  <a:pt x="0" y="1914664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4582668" y="3054426"/>
            <a:ext cx="224028" cy="789858"/>
          </a:xfrm>
          <a:custGeom>
            <a:avLst/>
            <a:gdLst/>
            <a:ahLst/>
            <a:cxnLst/>
            <a:rect l="l" t="t" r="r" b="b"/>
            <a:pathLst>
              <a:path w="224028" h="1054607">
                <a:moveTo>
                  <a:pt x="0" y="1054607"/>
                </a:moveTo>
                <a:lnTo>
                  <a:pt x="224028" y="1054607"/>
                </a:lnTo>
                <a:lnTo>
                  <a:pt x="224028" y="0"/>
                </a:lnTo>
                <a:lnTo>
                  <a:pt x="0" y="0"/>
                </a:lnTo>
                <a:lnTo>
                  <a:pt x="0" y="1054607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5141977" y="3770093"/>
            <a:ext cx="222503" cy="74191"/>
          </a:xfrm>
          <a:custGeom>
            <a:avLst/>
            <a:gdLst/>
            <a:ahLst/>
            <a:cxnLst/>
            <a:rect l="l" t="t" r="r" b="b"/>
            <a:pathLst>
              <a:path w="222503" h="99059">
                <a:moveTo>
                  <a:pt x="0" y="0"/>
                </a:moveTo>
                <a:lnTo>
                  <a:pt x="0" y="99059"/>
                </a:lnTo>
                <a:lnTo>
                  <a:pt x="222503" y="99059"/>
                </a:lnTo>
                <a:lnTo>
                  <a:pt x="222503" y="0"/>
                </a:lnTo>
                <a:lnTo>
                  <a:pt x="0" y="0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5699761" y="3697042"/>
            <a:ext cx="222503" cy="147242"/>
          </a:xfrm>
          <a:custGeom>
            <a:avLst/>
            <a:gdLst/>
            <a:ahLst/>
            <a:cxnLst/>
            <a:rect l="l" t="t" r="r" b="b"/>
            <a:pathLst>
              <a:path w="222503" h="196595">
                <a:moveTo>
                  <a:pt x="0" y="0"/>
                </a:moveTo>
                <a:lnTo>
                  <a:pt x="0" y="196595"/>
                </a:lnTo>
                <a:lnTo>
                  <a:pt x="222503" y="196595"/>
                </a:lnTo>
                <a:lnTo>
                  <a:pt x="222503" y="0"/>
                </a:lnTo>
                <a:lnTo>
                  <a:pt x="0" y="0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6257545" y="3647962"/>
            <a:ext cx="222503" cy="196323"/>
          </a:xfrm>
          <a:custGeom>
            <a:avLst/>
            <a:gdLst/>
            <a:ahLst/>
            <a:cxnLst/>
            <a:rect l="l" t="t" r="r" b="b"/>
            <a:pathLst>
              <a:path w="222503" h="262127">
                <a:moveTo>
                  <a:pt x="0" y="0"/>
                </a:moveTo>
                <a:lnTo>
                  <a:pt x="0" y="262128"/>
                </a:lnTo>
                <a:lnTo>
                  <a:pt x="222503" y="262128"/>
                </a:lnTo>
                <a:lnTo>
                  <a:pt x="222503" y="0"/>
                </a:lnTo>
                <a:lnTo>
                  <a:pt x="0" y="0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6815329" y="2785052"/>
            <a:ext cx="222503" cy="77245"/>
          </a:xfrm>
          <a:custGeom>
            <a:avLst/>
            <a:gdLst/>
            <a:ahLst/>
            <a:cxnLst/>
            <a:rect l="l" t="t" r="r" b="b"/>
            <a:pathLst>
              <a:path w="222503" h="103136">
                <a:moveTo>
                  <a:pt x="0" y="103136"/>
                </a:moveTo>
                <a:lnTo>
                  <a:pt x="222503" y="103136"/>
                </a:lnTo>
                <a:lnTo>
                  <a:pt x="222503" y="0"/>
                </a:lnTo>
                <a:lnTo>
                  <a:pt x="0" y="0"/>
                </a:lnTo>
                <a:lnTo>
                  <a:pt x="0" y="103136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6815329" y="3058231"/>
            <a:ext cx="222503" cy="786054"/>
          </a:xfrm>
          <a:custGeom>
            <a:avLst/>
            <a:gdLst/>
            <a:ahLst/>
            <a:cxnLst/>
            <a:rect l="l" t="t" r="r" b="b"/>
            <a:pathLst>
              <a:path w="222503" h="1049527">
                <a:moveTo>
                  <a:pt x="0" y="1049528"/>
                </a:moveTo>
                <a:lnTo>
                  <a:pt x="222503" y="1049528"/>
                </a:lnTo>
                <a:lnTo>
                  <a:pt x="222503" y="0"/>
                </a:lnTo>
                <a:lnTo>
                  <a:pt x="0" y="0"/>
                </a:lnTo>
                <a:lnTo>
                  <a:pt x="0" y="1049528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7373111" y="1594556"/>
            <a:ext cx="224028" cy="1263365"/>
          </a:xfrm>
          <a:custGeom>
            <a:avLst/>
            <a:gdLst/>
            <a:ahLst/>
            <a:cxnLst/>
            <a:rect l="l" t="t" r="r" b="b"/>
            <a:pathLst>
              <a:path w="224028" h="1686826">
                <a:moveTo>
                  <a:pt x="0" y="1686826"/>
                </a:moveTo>
                <a:lnTo>
                  <a:pt x="224028" y="1686826"/>
                </a:lnTo>
                <a:lnTo>
                  <a:pt x="224028" y="0"/>
                </a:lnTo>
                <a:lnTo>
                  <a:pt x="0" y="0"/>
                </a:lnTo>
                <a:lnTo>
                  <a:pt x="0" y="1686826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7373111" y="3053855"/>
            <a:ext cx="224028" cy="790429"/>
          </a:xfrm>
          <a:custGeom>
            <a:avLst/>
            <a:gdLst/>
            <a:ahLst/>
            <a:cxnLst/>
            <a:rect l="l" t="t" r="r" b="b"/>
            <a:pathLst>
              <a:path w="224028" h="1055369">
                <a:moveTo>
                  <a:pt x="0" y="1055369"/>
                </a:moveTo>
                <a:lnTo>
                  <a:pt x="224028" y="1055369"/>
                </a:lnTo>
                <a:lnTo>
                  <a:pt x="224028" y="0"/>
                </a:lnTo>
                <a:lnTo>
                  <a:pt x="0" y="0"/>
                </a:lnTo>
                <a:lnTo>
                  <a:pt x="0" y="1055369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7930897" y="2084224"/>
            <a:ext cx="224027" cy="781402"/>
          </a:xfrm>
          <a:custGeom>
            <a:avLst/>
            <a:gdLst/>
            <a:ahLst/>
            <a:cxnLst/>
            <a:rect l="l" t="t" r="r" b="b"/>
            <a:pathLst>
              <a:path w="224027" h="1043317">
                <a:moveTo>
                  <a:pt x="0" y="1043317"/>
                </a:moveTo>
                <a:lnTo>
                  <a:pt x="224027" y="1043317"/>
                </a:lnTo>
                <a:lnTo>
                  <a:pt x="224027" y="0"/>
                </a:lnTo>
                <a:lnTo>
                  <a:pt x="0" y="0"/>
                </a:lnTo>
                <a:lnTo>
                  <a:pt x="0" y="1043317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7930897" y="3061560"/>
            <a:ext cx="224027" cy="782724"/>
          </a:xfrm>
          <a:custGeom>
            <a:avLst/>
            <a:gdLst/>
            <a:ahLst/>
            <a:cxnLst/>
            <a:rect l="l" t="t" r="r" b="b"/>
            <a:pathLst>
              <a:path w="224027" h="1045082">
                <a:moveTo>
                  <a:pt x="0" y="1045082"/>
                </a:moveTo>
                <a:lnTo>
                  <a:pt x="224027" y="1045082"/>
                </a:lnTo>
                <a:lnTo>
                  <a:pt x="224027" y="0"/>
                </a:lnTo>
                <a:lnTo>
                  <a:pt x="0" y="0"/>
                </a:lnTo>
                <a:lnTo>
                  <a:pt x="0" y="1045082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2351532" y="1399375"/>
            <a:ext cx="222504" cy="488525"/>
          </a:xfrm>
          <a:custGeom>
            <a:avLst/>
            <a:gdLst/>
            <a:ahLst/>
            <a:cxnLst/>
            <a:rect l="l" t="t" r="r" b="b"/>
            <a:pathLst>
              <a:path w="222504" h="652272">
                <a:moveTo>
                  <a:pt x="0" y="0"/>
                </a:moveTo>
                <a:lnTo>
                  <a:pt x="0" y="652272"/>
                </a:lnTo>
                <a:lnTo>
                  <a:pt x="222504" y="652272"/>
                </a:lnTo>
                <a:lnTo>
                  <a:pt x="222504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0" name="object 150"/>
          <p:cNvSpPr/>
          <p:nvPr/>
        </p:nvSpPr>
        <p:spPr>
          <a:xfrm>
            <a:off x="2909317" y="1399374"/>
            <a:ext cx="222503" cy="1075213"/>
          </a:xfrm>
          <a:custGeom>
            <a:avLst/>
            <a:gdLst/>
            <a:ahLst/>
            <a:cxnLst/>
            <a:rect l="l" t="t" r="r" b="b"/>
            <a:pathLst>
              <a:path w="222503" h="1435608">
                <a:moveTo>
                  <a:pt x="0" y="0"/>
                </a:moveTo>
                <a:lnTo>
                  <a:pt x="0" y="1435608"/>
                </a:lnTo>
                <a:lnTo>
                  <a:pt x="222503" y="1435608"/>
                </a:lnTo>
                <a:lnTo>
                  <a:pt x="222503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1" name="object 151"/>
          <p:cNvSpPr/>
          <p:nvPr/>
        </p:nvSpPr>
        <p:spPr>
          <a:xfrm>
            <a:off x="3467101" y="1399375"/>
            <a:ext cx="224027" cy="1471102"/>
          </a:xfrm>
          <a:custGeom>
            <a:avLst/>
            <a:gdLst/>
            <a:ahLst/>
            <a:cxnLst/>
            <a:rect l="l" t="t" r="r" b="b"/>
            <a:pathLst>
              <a:path w="224027" h="1964194">
                <a:moveTo>
                  <a:pt x="0" y="1964194"/>
                </a:moveTo>
                <a:lnTo>
                  <a:pt x="224027" y="1964194"/>
                </a:lnTo>
                <a:lnTo>
                  <a:pt x="224027" y="0"/>
                </a:lnTo>
                <a:lnTo>
                  <a:pt x="0" y="0"/>
                </a:lnTo>
                <a:lnTo>
                  <a:pt x="0" y="196419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3467101" y="3066411"/>
            <a:ext cx="224027" cy="557581"/>
          </a:xfrm>
          <a:custGeom>
            <a:avLst/>
            <a:gdLst/>
            <a:ahLst/>
            <a:cxnLst/>
            <a:rect l="l" t="t" r="r" b="b"/>
            <a:pathLst>
              <a:path w="224027" h="744474">
                <a:moveTo>
                  <a:pt x="0" y="744474"/>
                </a:moveTo>
                <a:lnTo>
                  <a:pt x="224027" y="744474"/>
                </a:lnTo>
                <a:lnTo>
                  <a:pt x="224027" y="0"/>
                </a:lnTo>
                <a:lnTo>
                  <a:pt x="0" y="0"/>
                </a:lnTo>
                <a:lnTo>
                  <a:pt x="0" y="7444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4024885" y="1399375"/>
            <a:ext cx="224027" cy="1368556"/>
          </a:xfrm>
          <a:custGeom>
            <a:avLst/>
            <a:gdLst/>
            <a:ahLst/>
            <a:cxnLst/>
            <a:rect l="l" t="t" r="r" b="b"/>
            <a:pathLst>
              <a:path w="224027" h="1827276">
                <a:moveTo>
                  <a:pt x="0" y="0"/>
                </a:moveTo>
                <a:lnTo>
                  <a:pt x="0" y="1827276"/>
                </a:lnTo>
                <a:lnTo>
                  <a:pt x="224027" y="1827276"/>
                </a:lnTo>
                <a:lnTo>
                  <a:pt x="224027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4582668" y="1398899"/>
            <a:ext cx="224028" cy="26062"/>
          </a:xfrm>
          <a:custGeom>
            <a:avLst/>
            <a:gdLst/>
            <a:ahLst/>
            <a:cxnLst/>
            <a:rect l="l" t="t" r="r" b="b"/>
            <a:pathLst>
              <a:path w="224028" h="34798">
                <a:moveTo>
                  <a:pt x="0" y="34798"/>
                </a:moveTo>
                <a:lnTo>
                  <a:pt x="224028" y="34798"/>
                </a:lnTo>
                <a:lnTo>
                  <a:pt x="224028" y="0"/>
                </a:lnTo>
                <a:lnTo>
                  <a:pt x="0" y="0"/>
                </a:lnTo>
                <a:lnTo>
                  <a:pt x="0" y="3479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5" name="object 155"/>
          <p:cNvSpPr/>
          <p:nvPr/>
        </p:nvSpPr>
        <p:spPr>
          <a:xfrm>
            <a:off x="5141977" y="1399375"/>
            <a:ext cx="222503" cy="1459117"/>
          </a:xfrm>
          <a:custGeom>
            <a:avLst/>
            <a:gdLst/>
            <a:ahLst/>
            <a:cxnLst/>
            <a:rect l="l" t="t" r="r" b="b"/>
            <a:pathLst>
              <a:path w="222503" h="1948192">
                <a:moveTo>
                  <a:pt x="0" y="1948192"/>
                </a:moveTo>
                <a:lnTo>
                  <a:pt x="222503" y="1948192"/>
                </a:lnTo>
                <a:lnTo>
                  <a:pt x="222503" y="0"/>
                </a:lnTo>
                <a:lnTo>
                  <a:pt x="0" y="0"/>
                </a:lnTo>
                <a:lnTo>
                  <a:pt x="0" y="19481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6" name="object 156"/>
          <p:cNvSpPr/>
          <p:nvPr/>
        </p:nvSpPr>
        <p:spPr>
          <a:xfrm>
            <a:off x="5141977" y="3054426"/>
            <a:ext cx="222503" cy="715667"/>
          </a:xfrm>
          <a:custGeom>
            <a:avLst/>
            <a:gdLst/>
            <a:ahLst/>
            <a:cxnLst/>
            <a:rect l="l" t="t" r="r" b="b"/>
            <a:pathLst>
              <a:path w="222503" h="955548">
                <a:moveTo>
                  <a:pt x="0" y="955548"/>
                </a:moveTo>
                <a:lnTo>
                  <a:pt x="222503" y="955548"/>
                </a:lnTo>
                <a:lnTo>
                  <a:pt x="222503" y="0"/>
                </a:lnTo>
                <a:lnTo>
                  <a:pt x="0" y="0"/>
                </a:lnTo>
                <a:lnTo>
                  <a:pt x="0" y="9555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7" name="object 157"/>
          <p:cNvSpPr/>
          <p:nvPr/>
        </p:nvSpPr>
        <p:spPr>
          <a:xfrm>
            <a:off x="5699761" y="1399375"/>
            <a:ext cx="222503" cy="1459117"/>
          </a:xfrm>
          <a:custGeom>
            <a:avLst/>
            <a:gdLst/>
            <a:ahLst/>
            <a:cxnLst/>
            <a:rect l="l" t="t" r="r" b="b"/>
            <a:pathLst>
              <a:path w="222503" h="1948192">
                <a:moveTo>
                  <a:pt x="0" y="1948192"/>
                </a:moveTo>
                <a:lnTo>
                  <a:pt x="222503" y="1948192"/>
                </a:lnTo>
                <a:lnTo>
                  <a:pt x="222503" y="0"/>
                </a:lnTo>
                <a:lnTo>
                  <a:pt x="0" y="0"/>
                </a:lnTo>
                <a:lnTo>
                  <a:pt x="0" y="194819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8" name="object 158"/>
          <p:cNvSpPr/>
          <p:nvPr/>
        </p:nvSpPr>
        <p:spPr>
          <a:xfrm>
            <a:off x="5699761" y="3054426"/>
            <a:ext cx="222503" cy="642616"/>
          </a:xfrm>
          <a:custGeom>
            <a:avLst/>
            <a:gdLst/>
            <a:ahLst/>
            <a:cxnLst/>
            <a:rect l="l" t="t" r="r" b="b"/>
            <a:pathLst>
              <a:path w="222503" h="858011">
                <a:moveTo>
                  <a:pt x="0" y="858011"/>
                </a:moveTo>
                <a:lnTo>
                  <a:pt x="222503" y="858011"/>
                </a:lnTo>
                <a:lnTo>
                  <a:pt x="222503" y="0"/>
                </a:lnTo>
                <a:lnTo>
                  <a:pt x="0" y="0"/>
                </a:lnTo>
                <a:lnTo>
                  <a:pt x="0" y="85801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9" name="object 159"/>
          <p:cNvSpPr/>
          <p:nvPr/>
        </p:nvSpPr>
        <p:spPr>
          <a:xfrm>
            <a:off x="6257545" y="1399375"/>
            <a:ext cx="222503" cy="1457862"/>
          </a:xfrm>
          <a:custGeom>
            <a:avLst/>
            <a:gdLst/>
            <a:ahLst/>
            <a:cxnLst/>
            <a:rect l="l" t="t" r="r" b="b"/>
            <a:pathLst>
              <a:path w="222503" h="1946516">
                <a:moveTo>
                  <a:pt x="0" y="1946516"/>
                </a:moveTo>
                <a:lnTo>
                  <a:pt x="222503" y="1946516"/>
                </a:lnTo>
                <a:lnTo>
                  <a:pt x="222503" y="0"/>
                </a:lnTo>
                <a:lnTo>
                  <a:pt x="0" y="0"/>
                </a:lnTo>
                <a:lnTo>
                  <a:pt x="0" y="194651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6257545" y="3053189"/>
            <a:ext cx="222503" cy="594771"/>
          </a:xfrm>
          <a:custGeom>
            <a:avLst/>
            <a:gdLst/>
            <a:ahLst/>
            <a:cxnLst/>
            <a:rect l="l" t="t" r="r" b="b"/>
            <a:pathLst>
              <a:path w="222503" h="794130">
                <a:moveTo>
                  <a:pt x="0" y="794130"/>
                </a:moveTo>
                <a:lnTo>
                  <a:pt x="222503" y="794130"/>
                </a:lnTo>
                <a:lnTo>
                  <a:pt x="222503" y="0"/>
                </a:lnTo>
                <a:lnTo>
                  <a:pt x="0" y="0"/>
                </a:lnTo>
                <a:lnTo>
                  <a:pt x="0" y="79413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1" name="object 161"/>
          <p:cNvSpPr/>
          <p:nvPr/>
        </p:nvSpPr>
        <p:spPr>
          <a:xfrm>
            <a:off x="6815329" y="1399375"/>
            <a:ext cx="222503" cy="1385677"/>
          </a:xfrm>
          <a:custGeom>
            <a:avLst/>
            <a:gdLst/>
            <a:ahLst/>
            <a:cxnLst/>
            <a:rect l="l" t="t" r="r" b="b"/>
            <a:pathLst>
              <a:path w="222503" h="1850136">
                <a:moveTo>
                  <a:pt x="0" y="0"/>
                </a:moveTo>
                <a:lnTo>
                  <a:pt x="0" y="1850136"/>
                </a:lnTo>
                <a:lnTo>
                  <a:pt x="222503" y="1850136"/>
                </a:lnTo>
                <a:lnTo>
                  <a:pt x="222503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2" name="object 162"/>
          <p:cNvSpPr/>
          <p:nvPr/>
        </p:nvSpPr>
        <p:spPr>
          <a:xfrm>
            <a:off x="7373111" y="1399375"/>
            <a:ext cx="224028" cy="195181"/>
          </a:xfrm>
          <a:custGeom>
            <a:avLst/>
            <a:gdLst/>
            <a:ahLst/>
            <a:cxnLst/>
            <a:rect l="l" t="t" r="r" b="b"/>
            <a:pathLst>
              <a:path w="224028" h="260603">
                <a:moveTo>
                  <a:pt x="0" y="0"/>
                </a:moveTo>
                <a:lnTo>
                  <a:pt x="0" y="260603"/>
                </a:lnTo>
                <a:lnTo>
                  <a:pt x="224028" y="260603"/>
                </a:lnTo>
                <a:lnTo>
                  <a:pt x="224028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3" name="object 163"/>
          <p:cNvSpPr/>
          <p:nvPr/>
        </p:nvSpPr>
        <p:spPr>
          <a:xfrm>
            <a:off x="7930897" y="1399374"/>
            <a:ext cx="224027" cy="684849"/>
          </a:xfrm>
          <a:custGeom>
            <a:avLst/>
            <a:gdLst/>
            <a:ahLst/>
            <a:cxnLst/>
            <a:rect l="l" t="t" r="r" b="b"/>
            <a:pathLst>
              <a:path w="224027" h="914400">
                <a:moveTo>
                  <a:pt x="0" y="0"/>
                </a:moveTo>
                <a:lnTo>
                  <a:pt x="0" y="914400"/>
                </a:lnTo>
                <a:lnTo>
                  <a:pt x="224027" y="914400"/>
                </a:lnTo>
                <a:lnTo>
                  <a:pt x="224027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4" name="object 164"/>
          <p:cNvSpPr/>
          <p:nvPr/>
        </p:nvSpPr>
        <p:spPr>
          <a:xfrm>
            <a:off x="1626108" y="1399375"/>
            <a:ext cx="0" cy="2444910"/>
          </a:xfrm>
          <a:custGeom>
            <a:avLst/>
            <a:gdLst/>
            <a:ahLst/>
            <a:cxnLst/>
            <a:rect l="l" t="t" r="r" b="b"/>
            <a:pathLst>
              <a:path h="3264407">
                <a:moveTo>
                  <a:pt x="0" y="3264407"/>
                </a:moveTo>
                <a:lnTo>
                  <a:pt x="0" y="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1557529" y="3844285"/>
            <a:ext cx="68579" cy="0"/>
          </a:xfrm>
          <a:custGeom>
            <a:avLst/>
            <a:gdLst/>
            <a:ahLst/>
            <a:cxnLst/>
            <a:rect l="l" t="t" r="r" b="b"/>
            <a:pathLst>
              <a:path w="68579">
                <a:moveTo>
                  <a:pt x="0" y="0"/>
                </a:moveTo>
                <a:lnTo>
                  <a:pt x="68579" y="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1557529" y="3600022"/>
            <a:ext cx="68579" cy="0"/>
          </a:xfrm>
          <a:custGeom>
            <a:avLst/>
            <a:gdLst/>
            <a:ahLst/>
            <a:cxnLst/>
            <a:rect l="l" t="t" r="r" b="b"/>
            <a:pathLst>
              <a:path w="68579">
                <a:moveTo>
                  <a:pt x="0" y="0"/>
                </a:moveTo>
                <a:lnTo>
                  <a:pt x="68579" y="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7" name="object 167"/>
          <p:cNvSpPr/>
          <p:nvPr/>
        </p:nvSpPr>
        <p:spPr>
          <a:xfrm>
            <a:off x="1557529" y="3354618"/>
            <a:ext cx="68579" cy="0"/>
          </a:xfrm>
          <a:custGeom>
            <a:avLst/>
            <a:gdLst/>
            <a:ahLst/>
            <a:cxnLst/>
            <a:rect l="l" t="t" r="r" b="b"/>
            <a:pathLst>
              <a:path w="68579">
                <a:moveTo>
                  <a:pt x="0" y="0"/>
                </a:moveTo>
                <a:lnTo>
                  <a:pt x="68579" y="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8" name="object 168"/>
          <p:cNvSpPr/>
          <p:nvPr/>
        </p:nvSpPr>
        <p:spPr>
          <a:xfrm>
            <a:off x="1557529" y="3110355"/>
            <a:ext cx="68579" cy="0"/>
          </a:xfrm>
          <a:custGeom>
            <a:avLst/>
            <a:gdLst/>
            <a:ahLst/>
            <a:cxnLst/>
            <a:rect l="l" t="t" r="r" b="b"/>
            <a:pathLst>
              <a:path w="68579">
                <a:moveTo>
                  <a:pt x="0" y="0"/>
                </a:moveTo>
                <a:lnTo>
                  <a:pt x="68579" y="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1557529" y="2866092"/>
            <a:ext cx="68579" cy="0"/>
          </a:xfrm>
          <a:custGeom>
            <a:avLst/>
            <a:gdLst/>
            <a:ahLst/>
            <a:cxnLst/>
            <a:rect l="l" t="t" r="r" b="b"/>
            <a:pathLst>
              <a:path w="68579">
                <a:moveTo>
                  <a:pt x="0" y="0"/>
                </a:moveTo>
                <a:lnTo>
                  <a:pt x="68579" y="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0" name="object 170"/>
          <p:cNvSpPr/>
          <p:nvPr/>
        </p:nvSpPr>
        <p:spPr>
          <a:xfrm>
            <a:off x="1557529" y="2621830"/>
            <a:ext cx="68579" cy="0"/>
          </a:xfrm>
          <a:custGeom>
            <a:avLst/>
            <a:gdLst/>
            <a:ahLst/>
            <a:cxnLst/>
            <a:rect l="l" t="t" r="r" b="b"/>
            <a:pathLst>
              <a:path w="68579">
                <a:moveTo>
                  <a:pt x="0" y="0"/>
                </a:moveTo>
                <a:lnTo>
                  <a:pt x="68579" y="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1" name="object 171"/>
          <p:cNvSpPr/>
          <p:nvPr/>
        </p:nvSpPr>
        <p:spPr>
          <a:xfrm>
            <a:off x="1557529" y="2377566"/>
            <a:ext cx="68579" cy="0"/>
          </a:xfrm>
          <a:custGeom>
            <a:avLst/>
            <a:gdLst/>
            <a:ahLst/>
            <a:cxnLst/>
            <a:rect l="l" t="t" r="r" b="b"/>
            <a:pathLst>
              <a:path w="68579">
                <a:moveTo>
                  <a:pt x="0" y="0"/>
                </a:moveTo>
                <a:lnTo>
                  <a:pt x="68579" y="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1557529" y="2133303"/>
            <a:ext cx="68579" cy="0"/>
          </a:xfrm>
          <a:custGeom>
            <a:avLst/>
            <a:gdLst/>
            <a:ahLst/>
            <a:cxnLst/>
            <a:rect l="l" t="t" r="r" b="b"/>
            <a:pathLst>
              <a:path w="68579">
                <a:moveTo>
                  <a:pt x="0" y="0"/>
                </a:moveTo>
                <a:lnTo>
                  <a:pt x="68579" y="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1557529" y="1887900"/>
            <a:ext cx="68579" cy="0"/>
          </a:xfrm>
          <a:custGeom>
            <a:avLst/>
            <a:gdLst/>
            <a:ahLst/>
            <a:cxnLst/>
            <a:rect l="l" t="t" r="r" b="b"/>
            <a:pathLst>
              <a:path w="68579">
                <a:moveTo>
                  <a:pt x="0" y="0"/>
                </a:moveTo>
                <a:lnTo>
                  <a:pt x="68579" y="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4" name="object 174"/>
          <p:cNvSpPr/>
          <p:nvPr/>
        </p:nvSpPr>
        <p:spPr>
          <a:xfrm>
            <a:off x="1557529" y="1643637"/>
            <a:ext cx="68579" cy="0"/>
          </a:xfrm>
          <a:custGeom>
            <a:avLst/>
            <a:gdLst/>
            <a:ahLst/>
            <a:cxnLst/>
            <a:rect l="l" t="t" r="r" b="b"/>
            <a:pathLst>
              <a:path w="68579">
                <a:moveTo>
                  <a:pt x="0" y="0"/>
                </a:moveTo>
                <a:lnTo>
                  <a:pt x="68579" y="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1557529" y="1399374"/>
            <a:ext cx="68579" cy="0"/>
          </a:xfrm>
          <a:custGeom>
            <a:avLst/>
            <a:gdLst/>
            <a:ahLst/>
            <a:cxnLst/>
            <a:rect l="l" t="t" r="r" b="b"/>
            <a:pathLst>
              <a:path w="68579">
                <a:moveTo>
                  <a:pt x="0" y="0"/>
                </a:moveTo>
                <a:lnTo>
                  <a:pt x="68579" y="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1626108" y="3844285"/>
            <a:ext cx="6696456" cy="0"/>
          </a:xfrm>
          <a:custGeom>
            <a:avLst/>
            <a:gdLst/>
            <a:ahLst/>
            <a:cxnLst/>
            <a:rect l="l" t="t" r="r" b="b"/>
            <a:pathLst>
              <a:path w="6696456">
                <a:moveTo>
                  <a:pt x="0" y="0"/>
                </a:moveTo>
                <a:lnTo>
                  <a:pt x="6696456" y="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7" name="object 177"/>
          <p:cNvSpPr/>
          <p:nvPr/>
        </p:nvSpPr>
        <p:spPr>
          <a:xfrm>
            <a:off x="1626108" y="3844284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2183892" y="3844284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9" name="object 179"/>
          <p:cNvSpPr/>
          <p:nvPr/>
        </p:nvSpPr>
        <p:spPr>
          <a:xfrm>
            <a:off x="2741676" y="3844284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0" name="object 180"/>
          <p:cNvSpPr/>
          <p:nvPr/>
        </p:nvSpPr>
        <p:spPr>
          <a:xfrm>
            <a:off x="3299460" y="3844284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1" name="object 181"/>
          <p:cNvSpPr/>
          <p:nvPr/>
        </p:nvSpPr>
        <p:spPr>
          <a:xfrm>
            <a:off x="3857244" y="3844284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2" name="object 182"/>
          <p:cNvSpPr/>
          <p:nvPr/>
        </p:nvSpPr>
        <p:spPr>
          <a:xfrm>
            <a:off x="4416552" y="3844284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3" name="object 183"/>
          <p:cNvSpPr/>
          <p:nvPr/>
        </p:nvSpPr>
        <p:spPr>
          <a:xfrm>
            <a:off x="4974336" y="3844284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4" name="object 184"/>
          <p:cNvSpPr/>
          <p:nvPr/>
        </p:nvSpPr>
        <p:spPr>
          <a:xfrm>
            <a:off x="5532120" y="3844284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5" name="object 185"/>
          <p:cNvSpPr/>
          <p:nvPr/>
        </p:nvSpPr>
        <p:spPr>
          <a:xfrm>
            <a:off x="6089904" y="3844284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6" name="object 186"/>
          <p:cNvSpPr/>
          <p:nvPr/>
        </p:nvSpPr>
        <p:spPr>
          <a:xfrm>
            <a:off x="6647688" y="3844284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7" name="object 187"/>
          <p:cNvSpPr/>
          <p:nvPr/>
        </p:nvSpPr>
        <p:spPr>
          <a:xfrm>
            <a:off x="7205472" y="3844284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8" name="object 188"/>
          <p:cNvSpPr/>
          <p:nvPr/>
        </p:nvSpPr>
        <p:spPr>
          <a:xfrm>
            <a:off x="7763256" y="3844284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9" name="object 189"/>
          <p:cNvSpPr/>
          <p:nvPr/>
        </p:nvSpPr>
        <p:spPr>
          <a:xfrm>
            <a:off x="8322564" y="3844284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9144">
            <a:solidFill>
              <a:srgbClr val="858585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0" name="object 190"/>
          <p:cNvSpPr/>
          <p:nvPr/>
        </p:nvSpPr>
        <p:spPr>
          <a:xfrm>
            <a:off x="1300099" y="3962041"/>
            <a:ext cx="629284" cy="469549"/>
          </a:xfrm>
          <a:custGeom>
            <a:avLst/>
            <a:gdLst/>
            <a:ahLst/>
            <a:cxnLst/>
            <a:rect l="l" t="t" r="r" b="b"/>
            <a:pathLst>
              <a:path w="629284" h="626935">
                <a:moveTo>
                  <a:pt x="344931" y="375259"/>
                </a:moveTo>
                <a:lnTo>
                  <a:pt x="277622" y="255777"/>
                </a:lnTo>
                <a:lnTo>
                  <a:pt x="268859" y="264667"/>
                </a:lnTo>
                <a:lnTo>
                  <a:pt x="335914" y="384187"/>
                </a:lnTo>
                <a:lnTo>
                  <a:pt x="344931" y="375259"/>
                </a:lnTo>
                <a:close/>
              </a:path>
              <a:path w="629284" h="626935">
                <a:moveTo>
                  <a:pt x="433450" y="283590"/>
                </a:moveTo>
                <a:lnTo>
                  <a:pt x="422782" y="272922"/>
                </a:lnTo>
                <a:lnTo>
                  <a:pt x="378587" y="317220"/>
                </a:lnTo>
                <a:lnTo>
                  <a:pt x="377825" y="313982"/>
                </a:lnTo>
                <a:lnTo>
                  <a:pt x="377317" y="310426"/>
                </a:lnTo>
                <a:lnTo>
                  <a:pt x="377189" y="306539"/>
                </a:lnTo>
                <a:lnTo>
                  <a:pt x="377063" y="302666"/>
                </a:lnTo>
                <a:lnTo>
                  <a:pt x="377570" y="294639"/>
                </a:lnTo>
                <a:lnTo>
                  <a:pt x="378713" y="282320"/>
                </a:lnTo>
                <a:lnTo>
                  <a:pt x="379395" y="272832"/>
                </a:lnTo>
                <a:lnTo>
                  <a:pt x="380013" y="259477"/>
                </a:lnTo>
                <a:lnTo>
                  <a:pt x="379856" y="249427"/>
                </a:lnTo>
                <a:lnTo>
                  <a:pt x="379475" y="242188"/>
                </a:lnTo>
                <a:lnTo>
                  <a:pt x="378206" y="235965"/>
                </a:lnTo>
                <a:lnTo>
                  <a:pt x="376174" y="231012"/>
                </a:lnTo>
                <a:lnTo>
                  <a:pt x="374142" y="226059"/>
                </a:lnTo>
                <a:lnTo>
                  <a:pt x="371348" y="221741"/>
                </a:lnTo>
                <a:lnTo>
                  <a:pt x="367792" y="218185"/>
                </a:lnTo>
                <a:lnTo>
                  <a:pt x="355072" y="209888"/>
                </a:lnTo>
                <a:lnTo>
                  <a:pt x="342392" y="207898"/>
                </a:lnTo>
                <a:lnTo>
                  <a:pt x="337205" y="208425"/>
                </a:lnTo>
                <a:lnTo>
                  <a:pt x="325569" y="212698"/>
                </a:lnTo>
                <a:lnTo>
                  <a:pt x="314578" y="221233"/>
                </a:lnTo>
                <a:lnTo>
                  <a:pt x="310586" y="225598"/>
                </a:lnTo>
                <a:lnTo>
                  <a:pt x="303586" y="236768"/>
                </a:lnTo>
                <a:lnTo>
                  <a:pt x="300735" y="248411"/>
                </a:lnTo>
                <a:lnTo>
                  <a:pt x="300776" y="253270"/>
                </a:lnTo>
                <a:lnTo>
                  <a:pt x="303926" y="265003"/>
                </a:lnTo>
                <a:lnTo>
                  <a:pt x="311403" y="276605"/>
                </a:lnTo>
                <a:lnTo>
                  <a:pt x="323976" y="266445"/>
                </a:lnTo>
                <a:lnTo>
                  <a:pt x="318262" y="260730"/>
                </a:lnTo>
                <a:lnTo>
                  <a:pt x="315467" y="254634"/>
                </a:lnTo>
                <a:lnTo>
                  <a:pt x="315467" y="241807"/>
                </a:lnTo>
                <a:lnTo>
                  <a:pt x="318134" y="235965"/>
                </a:lnTo>
                <a:lnTo>
                  <a:pt x="323469" y="230631"/>
                </a:lnTo>
                <a:lnTo>
                  <a:pt x="328549" y="225678"/>
                </a:lnTo>
                <a:lnTo>
                  <a:pt x="334137" y="223011"/>
                </a:lnTo>
                <a:lnTo>
                  <a:pt x="340359" y="222884"/>
                </a:lnTo>
                <a:lnTo>
                  <a:pt x="346456" y="222757"/>
                </a:lnTo>
                <a:lnTo>
                  <a:pt x="351789" y="224916"/>
                </a:lnTo>
                <a:lnTo>
                  <a:pt x="356107" y="229361"/>
                </a:lnTo>
                <a:lnTo>
                  <a:pt x="360299" y="233552"/>
                </a:lnTo>
                <a:lnTo>
                  <a:pt x="363093" y="239648"/>
                </a:lnTo>
                <a:lnTo>
                  <a:pt x="364236" y="247776"/>
                </a:lnTo>
                <a:lnTo>
                  <a:pt x="364332" y="248428"/>
                </a:lnTo>
                <a:lnTo>
                  <a:pt x="365009" y="258150"/>
                </a:lnTo>
                <a:lnTo>
                  <a:pt x="364723" y="270947"/>
                </a:lnTo>
                <a:lnTo>
                  <a:pt x="363474" y="286765"/>
                </a:lnTo>
                <a:lnTo>
                  <a:pt x="363152" y="290225"/>
                </a:lnTo>
                <a:lnTo>
                  <a:pt x="362394" y="303888"/>
                </a:lnTo>
                <a:lnTo>
                  <a:pt x="362712" y="314972"/>
                </a:lnTo>
                <a:lnTo>
                  <a:pt x="363346" y="322262"/>
                </a:lnTo>
                <a:lnTo>
                  <a:pt x="364870" y="328701"/>
                </a:lnTo>
                <a:lnTo>
                  <a:pt x="367411" y="334276"/>
                </a:lnTo>
                <a:lnTo>
                  <a:pt x="368934" y="337680"/>
                </a:lnTo>
                <a:lnTo>
                  <a:pt x="371094" y="340677"/>
                </a:lnTo>
                <a:lnTo>
                  <a:pt x="373761" y="343268"/>
                </a:lnTo>
                <a:lnTo>
                  <a:pt x="433450" y="283590"/>
                </a:lnTo>
                <a:close/>
              </a:path>
              <a:path w="629284" h="626935">
                <a:moveTo>
                  <a:pt x="406648" y="210193"/>
                </a:moveTo>
                <a:lnTo>
                  <a:pt x="396956" y="198624"/>
                </a:lnTo>
                <a:lnTo>
                  <a:pt x="390524" y="188462"/>
                </a:lnTo>
                <a:lnTo>
                  <a:pt x="387350" y="179704"/>
                </a:lnTo>
                <a:lnTo>
                  <a:pt x="390891" y="216601"/>
                </a:lnTo>
                <a:lnTo>
                  <a:pt x="400812" y="227329"/>
                </a:lnTo>
                <a:lnTo>
                  <a:pt x="403214" y="229691"/>
                </a:lnTo>
                <a:lnTo>
                  <a:pt x="414883" y="239939"/>
                </a:lnTo>
                <a:lnTo>
                  <a:pt x="406648" y="210193"/>
                </a:lnTo>
                <a:close/>
              </a:path>
              <a:path w="629284" h="626935">
                <a:moveTo>
                  <a:pt x="465547" y="251771"/>
                </a:moveTo>
                <a:lnTo>
                  <a:pt x="476250" y="243966"/>
                </a:lnTo>
                <a:lnTo>
                  <a:pt x="482853" y="237362"/>
                </a:lnTo>
                <a:lnTo>
                  <a:pt x="486537" y="230123"/>
                </a:lnTo>
                <a:lnTo>
                  <a:pt x="487299" y="222122"/>
                </a:lnTo>
                <a:lnTo>
                  <a:pt x="487324" y="221849"/>
                </a:lnTo>
                <a:lnTo>
                  <a:pt x="486505" y="209883"/>
                </a:lnTo>
                <a:lnTo>
                  <a:pt x="481964" y="197357"/>
                </a:lnTo>
                <a:lnTo>
                  <a:pt x="477119" y="189155"/>
                </a:lnTo>
                <a:lnTo>
                  <a:pt x="469484" y="179146"/>
                </a:lnTo>
                <a:lnTo>
                  <a:pt x="459613" y="168401"/>
                </a:lnTo>
                <a:lnTo>
                  <a:pt x="455373" y="164272"/>
                </a:lnTo>
                <a:lnTo>
                  <a:pt x="445196" y="155375"/>
                </a:lnTo>
                <a:lnTo>
                  <a:pt x="436244" y="149097"/>
                </a:lnTo>
                <a:lnTo>
                  <a:pt x="429640" y="145160"/>
                </a:lnTo>
                <a:lnTo>
                  <a:pt x="423290" y="142620"/>
                </a:lnTo>
                <a:lnTo>
                  <a:pt x="417194" y="141350"/>
                </a:lnTo>
                <a:lnTo>
                  <a:pt x="411225" y="140080"/>
                </a:lnTo>
                <a:lnTo>
                  <a:pt x="405383" y="140207"/>
                </a:lnTo>
                <a:lnTo>
                  <a:pt x="399795" y="141985"/>
                </a:lnTo>
                <a:lnTo>
                  <a:pt x="394081" y="143636"/>
                </a:lnTo>
                <a:lnTo>
                  <a:pt x="388874" y="146938"/>
                </a:lnTo>
                <a:lnTo>
                  <a:pt x="384048" y="151764"/>
                </a:lnTo>
                <a:lnTo>
                  <a:pt x="377570" y="158368"/>
                </a:lnTo>
                <a:lnTo>
                  <a:pt x="373888" y="165480"/>
                </a:lnTo>
                <a:lnTo>
                  <a:pt x="372999" y="173354"/>
                </a:lnTo>
                <a:lnTo>
                  <a:pt x="372963" y="173739"/>
                </a:lnTo>
                <a:lnTo>
                  <a:pt x="373804" y="185669"/>
                </a:lnTo>
                <a:lnTo>
                  <a:pt x="378332" y="198246"/>
                </a:lnTo>
                <a:lnTo>
                  <a:pt x="383245" y="206572"/>
                </a:lnTo>
                <a:lnTo>
                  <a:pt x="390891" y="216601"/>
                </a:lnTo>
                <a:lnTo>
                  <a:pt x="387350" y="179704"/>
                </a:lnTo>
                <a:lnTo>
                  <a:pt x="386080" y="172338"/>
                </a:lnTo>
                <a:lnTo>
                  <a:pt x="387984" y="166115"/>
                </a:lnTo>
                <a:lnTo>
                  <a:pt x="393064" y="161035"/>
                </a:lnTo>
                <a:lnTo>
                  <a:pt x="398271" y="155828"/>
                </a:lnTo>
                <a:lnTo>
                  <a:pt x="405002" y="154050"/>
                </a:lnTo>
                <a:lnTo>
                  <a:pt x="413384" y="155447"/>
                </a:lnTo>
                <a:lnTo>
                  <a:pt x="416085" y="156096"/>
                </a:lnTo>
                <a:lnTo>
                  <a:pt x="425048" y="160400"/>
                </a:lnTo>
                <a:lnTo>
                  <a:pt x="435741" y="168312"/>
                </a:lnTo>
                <a:lnTo>
                  <a:pt x="448182" y="179831"/>
                </a:lnTo>
                <a:lnTo>
                  <a:pt x="452573" y="184301"/>
                </a:lnTo>
                <a:lnTo>
                  <a:pt x="462846" y="196112"/>
                </a:lnTo>
                <a:lnTo>
                  <a:pt x="469510" y="206236"/>
                </a:lnTo>
                <a:lnTo>
                  <a:pt x="472567" y="214629"/>
                </a:lnTo>
                <a:lnTo>
                  <a:pt x="474090" y="223011"/>
                </a:lnTo>
                <a:lnTo>
                  <a:pt x="472186" y="229742"/>
                </a:lnTo>
                <a:lnTo>
                  <a:pt x="467106" y="234822"/>
                </a:lnTo>
                <a:lnTo>
                  <a:pt x="462025" y="239902"/>
                </a:lnTo>
                <a:lnTo>
                  <a:pt x="455294" y="241680"/>
                </a:lnTo>
                <a:lnTo>
                  <a:pt x="446913" y="240283"/>
                </a:lnTo>
                <a:lnTo>
                  <a:pt x="444212" y="239635"/>
                </a:lnTo>
                <a:lnTo>
                  <a:pt x="435249" y="235331"/>
                </a:lnTo>
                <a:lnTo>
                  <a:pt x="424556" y="227419"/>
                </a:lnTo>
                <a:lnTo>
                  <a:pt x="412114" y="215899"/>
                </a:lnTo>
                <a:lnTo>
                  <a:pt x="406648" y="210193"/>
                </a:lnTo>
                <a:lnTo>
                  <a:pt x="414883" y="239939"/>
                </a:lnTo>
                <a:lnTo>
                  <a:pt x="425978" y="247582"/>
                </a:lnTo>
                <a:lnTo>
                  <a:pt x="436488" y="252611"/>
                </a:lnTo>
                <a:lnTo>
                  <a:pt x="446405" y="255015"/>
                </a:lnTo>
                <a:lnTo>
                  <a:pt x="453771" y="255119"/>
                </a:lnTo>
                <a:lnTo>
                  <a:pt x="465547" y="251771"/>
                </a:lnTo>
                <a:close/>
              </a:path>
              <a:path w="629284" h="626935">
                <a:moveTo>
                  <a:pt x="535632" y="181756"/>
                </a:moveTo>
                <a:lnTo>
                  <a:pt x="537209" y="164718"/>
                </a:lnTo>
                <a:lnTo>
                  <a:pt x="532130" y="169798"/>
                </a:lnTo>
                <a:lnTo>
                  <a:pt x="525399" y="171703"/>
                </a:lnTo>
                <a:lnTo>
                  <a:pt x="517017" y="170179"/>
                </a:lnTo>
                <a:lnTo>
                  <a:pt x="514312" y="169531"/>
                </a:lnTo>
                <a:lnTo>
                  <a:pt x="505316" y="165227"/>
                </a:lnTo>
                <a:lnTo>
                  <a:pt x="494604" y="157315"/>
                </a:lnTo>
                <a:lnTo>
                  <a:pt x="482219" y="145795"/>
                </a:lnTo>
                <a:lnTo>
                  <a:pt x="476709" y="140132"/>
                </a:lnTo>
                <a:lnTo>
                  <a:pt x="466968" y="128613"/>
                </a:lnTo>
                <a:lnTo>
                  <a:pt x="460549" y="118436"/>
                </a:lnTo>
                <a:lnTo>
                  <a:pt x="460868" y="146527"/>
                </a:lnTo>
                <a:lnTo>
                  <a:pt x="470788" y="157225"/>
                </a:lnTo>
                <a:lnTo>
                  <a:pt x="473267" y="159662"/>
                </a:lnTo>
                <a:lnTo>
                  <a:pt x="484957" y="169949"/>
                </a:lnTo>
                <a:lnTo>
                  <a:pt x="496026" y="177607"/>
                </a:lnTo>
                <a:lnTo>
                  <a:pt x="506494" y="182637"/>
                </a:lnTo>
                <a:lnTo>
                  <a:pt x="516381" y="185038"/>
                </a:lnTo>
                <a:lnTo>
                  <a:pt x="523854" y="185137"/>
                </a:lnTo>
                <a:lnTo>
                  <a:pt x="535632" y="181756"/>
                </a:lnTo>
                <a:close/>
              </a:path>
              <a:path w="629284" h="626935">
                <a:moveTo>
                  <a:pt x="593106" y="116774"/>
                </a:moveTo>
                <a:lnTo>
                  <a:pt x="604970" y="112714"/>
                </a:lnTo>
                <a:lnTo>
                  <a:pt x="615695" y="104520"/>
                </a:lnTo>
                <a:lnTo>
                  <a:pt x="621038" y="98325"/>
                </a:lnTo>
                <a:lnTo>
                  <a:pt x="627068" y="86970"/>
                </a:lnTo>
                <a:lnTo>
                  <a:pt x="629284" y="74548"/>
                </a:lnTo>
                <a:lnTo>
                  <a:pt x="629016" y="68571"/>
                </a:lnTo>
                <a:lnTo>
                  <a:pt x="625470" y="56370"/>
                </a:lnTo>
                <a:lnTo>
                  <a:pt x="617855" y="45846"/>
                </a:lnTo>
                <a:lnTo>
                  <a:pt x="612013" y="40004"/>
                </a:lnTo>
                <a:lnTo>
                  <a:pt x="605663" y="36702"/>
                </a:lnTo>
                <a:lnTo>
                  <a:pt x="598932" y="35813"/>
                </a:lnTo>
                <a:lnTo>
                  <a:pt x="592074" y="34797"/>
                </a:lnTo>
                <a:lnTo>
                  <a:pt x="585343" y="36448"/>
                </a:lnTo>
                <a:lnTo>
                  <a:pt x="578738" y="40512"/>
                </a:lnTo>
                <a:lnTo>
                  <a:pt x="581025" y="34543"/>
                </a:lnTo>
                <a:lnTo>
                  <a:pt x="581532" y="28955"/>
                </a:lnTo>
                <a:lnTo>
                  <a:pt x="580389" y="23621"/>
                </a:lnTo>
                <a:lnTo>
                  <a:pt x="579374" y="18287"/>
                </a:lnTo>
                <a:lnTo>
                  <a:pt x="576833" y="13715"/>
                </a:lnTo>
                <a:lnTo>
                  <a:pt x="572896" y="9778"/>
                </a:lnTo>
                <a:lnTo>
                  <a:pt x="568832" y="5714"/>
                </a:lnTo>
                <a:lnTo>
                  <a:pt x="563880" y="2920"/>
                </a:lnTo>
                <a:lnTo>
                  <a:pt x="558038" y="1523"/>
                </a:lnTo>
                <a:lnTo>
                  <a:pt x="552195" y="0"/>
                </a:lnTo>
                <a:lnTo>
                  <a:pt x="546100" y="253"/>
                </a:lnTo>
                <a:lnTo>
                  <a:pt x="539876" y="2285"/>
                </a:lnTo>
                <a:lnTo>
                  <a:pt x="533526" y="4317"/>
                </a:lnTo>
                <a:lnTo>
                  <a:pt x="527938" y="7873"/>
                </a:lnTo>
                <a:lnTo>
                  <a:pt x="523113" y="12826"/>
                </a:lnTo>
                <a:lnTo>
                  <a:pt x="522041" y="13911"/>
                </a:lnTo>
                <a:lnTo>
                  <a:pt x="514438" y="24769"/>
                </a:lnTo>
                <a:lnTo>
                  <a:pt x="511301" y="36829"/>
                </a:lnTo>
                <a:lnTo>
                  <a:pt x="511176" y="39474"/>
                </a:lnTo>
                <a:lnTo>
                  <a:pt x="513153" y="51416"/>
                </a:lnTo>
                <a:lnTo>
                  <a:pt x="519302" y="63372"/>
                </a:lnTo>
                <a:lnTo>
                  <a:pt x="532383" y="54228"/>
                </a:lnTo>
                <a:lnTo>
                  <a:pt x="527812" y="48005"/>
                </a:lnTo>
                <a:lnTo>
                  <a:pt x="525526" y="42036"/>
                </a:lnTo>
                <a:lnTo>
                  <a:pt x="525652" y="36448"/>
                </a:lnTo>
                <a:lnTo>
                  <a:pt x="525907" y="30860"/>
                </a:lnTo>
                <a:lnTo>
                  <a:pt x="528065" y="25907"/>
                </a:lnTo>
                <a:lnTo>
                  <a:pt x="532383" y="21589"/>
                </a:lnTo>
                <a:lnTo>
                  <a:pt x="536828" y="17271"/>
                </a:lnTo>
                <a:lnTo>
                  <a:pt x="541655" y="15112"/>
                </a:lnTo>
                <a:lnTo>
                  <a:pt x="547115" y="14985"/>
                </a:lnTo>
                <a:lnTo>
                  <a:pt x="552450" y="14858"/>
                </a:lnTo>
                <a:lnTo>
                  <a:pt x="557276" y="16890"/>
                </a:lnTo>
                <a:lnTo>
                  <a:pt x="561339" y="20954"/>
                </a:lnTo>
                <a:lnTo>
                  <a:pt x="566419" y="26034"/>
                </a:lnTo>
                <a:lnTo>
                  <a:pt x="568325" y="31749"/>
                </a:lnTo>
                <a:lnTo>
                  <a:pt x="567055" y="37972"/>
                </a:lnTo>
                <a:lnTo>
                  <a:pt x="565657" y="44195"/>
                </a:lnTo>
                <a:lnTo>
                  <a:pt x="562737" y="49783"/>
                </a:lnTo>
                <a:lnTo>
                  <a:pt x="557911" y="54482"/>
                </a:lnTo>
                <a:lnTo>
                  <a:pt x="556006" y="56133"/>
                </a:lnTo>
                <a:lnTo>
                  <a:pt x="564514" y="67055"/>
                </a:lnTo>
                <a:lnTo>
                  <a:pt x="566801" y="63118"/>
                </a:lnTo>
                <a:lnTo>
                  <a:pt x="569087" y="60070"/>
                </a:lnTo>
                <a:lnTo>
                  <a:pt x="571119" y="58038"/>
                </a:lnTo>
                <a:lnTo>
                  <a:pt x="576326" y="52831"/>
                </a:lnTo>
                <a:lnTo>
                  <a:pt x="582168" y="50291"/>
                </a:lnTo>
                <a:lnTo>
                  <a:pt x="595376" y="50291"/>
                </a:lnTo>
                <a:lnTo>
                  <a:pt x="601218" y="52831"/>
                </a:lnTo>
                <a:lnTo>
                  <a:pt x="606298" y="57911"/>
                </a:lnTo>
                <a:lnTo>
                  <a:pt x="611632" y="63245"/>
                </a:lnTo>
                <a:lnTo>
                  <a:pt x="614426" y="69468"/>
                </a:lnTo>
                <a:lnTo>
                  <a:pt x="614426" y="83946"/>
                </a:lnTo>
                <a:lnTo>
                  <a:pt x="611758" y="90169"/>
                </a:lnTo>
                <a:lnTo>
                  <a:pt x="606551" y="95376"/>
                </a:lnTo>
                <a:lnTo>
                  <a:pt x="602233" y="99694"/>
                </a:lnTo>
                <a:lnTo>
                  <a:pt x="597153" y="102107"/>
                </a:lnTo>
                <a:lnTo>
                  <a:pt x="591312" y="102361"/>
                </a:lnTo>
                <a:lnTo>
                  <a:pt x="585469" y="102615"/>
                </a:lnTo>
                <a:lnTo>
                  <a:pt x="578738" y="100329"/>
                </a:lnTo>
                <a:lnTo>
                  <a:pt x="571245" y="95249"/>
                </a:lnTo>
                <a:lnTo>
                  <a:pt x="561594" y="107822"/>
                </a:lnTo>
                <a:lnTo>
                  <a:pt x="564879" y="110282"/>
                </a:lnTo>
                <a:lnTo>
                  <a:pt x="576426" y="115807"/>
                </a:lnTo>
                <a:lnTo>
                  <a:pt x="588899" y="117220"/>
                </a:lnTo>
                <a:lnTo>
                  <a:pt x="593106" y="116774"/>
                </a:lnTo>
                <a:close/>
              </a:path>
              <a:path w="629284" h="626935">
                <a:moveTo>
                  <a:pt x="546226" y="173862"/>
                </a:moveTo>
                <a:lnTo>
                  <a:pt x="552831" y="167258"/>
                </a:lnTo>
                <a:lnTo>
                  <a:pt x="556640" y="160019"/>
                </a:lnTo>
                <a:lnTo>
                  <a:pt x="557402" y="152145"/>
                </a:lnTo>
                <a:lnTo>
                  <a:pt x="557438" y="151761"/>
                </a:lnTo>
                <a:lnTo>
                  <a:pt x="556597" y="139831"/>
                </a:lnTo>
                <a:lnTo>
                  <a:pt x="552069" y="127253"/>
                </a:lnTo>
                <a:lnTo>
                  <a:pt x="547259" y="119107"/>
                </a:lnTo>
                <a:lnTo>
                  <a:pt x="539612" y="109105"/>
                </a:lnTo>
                <a:lnTo>
                  <a:pt x="529717" y="98424"/>
                </a:lnTo>
                <a:lnTo>
                  <a:pt x="525434" y="94251"/>
                </a:lnTo>
                <a:lnTo>
                  <a:pt x="515261" y="85359"/>
                </a:lnTo>
                <a:lnTo>
                  <a:pt x="506349" y="79120"/>
                </a:lnTo>
                <a:lnTo>
                  <a:pt x="499618" y="75183"/>
                </a:lnTo>
                <a:lnTo>
                  <a:pt x="493268" y="72516"/>
                </a:lnTo>
                <a:lnTo>
                  <a:pt x="487299" y="71246"/>
                </a:lnTo>
                <a:lnTo>
                  <a:pt x="481202" y="69976"/>
                </a:lnTo>
                <a:lnTo>
                  <a:pt x="475361" y="70230"/>
                </a:lnTo>
                <a:lnTo>
                  <a:pt x="469773" y="71881"/>
                </a:lnTo>
                <a:lnTo>
                  <a:pt x="464184" y="73532"/>
                </a:lnTo>
                <a:lnTo>
                  <a:pt x="458977" y="76834"/>
                </a:lnTo>
                <a:lnTo>
                  <a:pt x="454151" y="81660"/>
                </a:lnTo>
                <a:lnTo>
                  <a:pt x="447548" y="88264"/>
                </a:lnTo>
                <a:lnTo>
                  <a:pt x="443864" y="95503"/>
                </a:lnTo>
                <a:lnTo>
                  <a:pt x="443102" y="103377"/>
                </a:lnTo>
                <a:lnTo>
                  <a:pt x="443069" y="103682"/>
                </a:lnTo>
                <a:lnTo>
                  <a:pt x="443787" y="115634"/>
                </a:lnTo>
                <a:lnTo>
                  <a:pt x="448309" y="128142"/>
                </a:lnTo>
                <a:lnTo>
                  <a:pt x="453222" y="136524"/>
                </a:lnTo>
                <a:lnTo>
                  <a:pt x="460868" y="146527"/>
                </a:lnTo>
                <a:lnTo>
                  <a:pt x="460549" y="118436"/>
                </a:lnTo>
                <a:lnTo>
                  <a:pt x="457453" y="109600"/>
                </a:lnTo>
                <a:lnTo>
                  <a:pt x="456183" y="102361"/>
                </a:lnTo>
                <a:lnTo>
                  <a:pt x="458088" y="96138"/>
                </a:lnTo>
                <a:lnTo>
                  <a:pt x="463169" y="91058"/>
                </a:lnTo>
                <a:lnTo>
                  <a:pt x="468375" y="85851"/>
                </a:lnTo>
                <a:lnTo>
                  <a:pt x="475106" y="83946"/>
                </a:lnTo>
                <a:lnTo>
                  <a:pt x="483488" y="85343"/>
                </a:lnTo>
                <a:lnTo>
                  <a:pt x="486189" y="85992"/>
                </a:lnTo>
                <a:lnTo>
                  <a:pt x="495152" y="90296"/>
                </a:lnTo>
                <a:lnTo>
                  <a:pt x="505845" y="98208"/>
                </a:lnTo>
                <a:lnTo>
                  <a:pt x="518287" y="109727"/>
                </a:lnTo>
                <a:lnTo>
                  <a:pt x="522642" y="114228"/>
                </a:lnTo>
                <a:lnTo>
                  <a:pt x="532858" y="126063"/>
                </a:lnTo>
                <a:lnTo>
                  <a:pt x="539534" y="136155"/>
                </a:lnTo>
                <a:lnTo>
                  <a:pt x="542670" y="144525"/>
                </a:lnTo>
                <a:lnTo>
                  <a:pt x="544068" y="152907"/>
                </a:lnTo>
                <a:lnTo>
                  <a:pt x="542289" y="159638"/>
                </a:lnTo>
                <a:lnTo>
                  <a:pt x="537209" y="164718"/>
                </a:lnTo>
                <a:lnTo>
                  <a:pt x="535632" y="181756"/>
                </a:lnTo>
                <a:lnTo>
                  <a:pt x="546226" y="173862"/>
                </a:lnTo>
                <a:close/>
              </a:path>
              <a:path w="629284" h="626935">
                <a:moveTo>
                  <a:pt x="270763" y="418528"/>
                </a:moveTo>
                <a:lnTo>
                  <a:pt x="266319" y="417080"/>
                </a:lnTo>
                <a:lnTo>
                  <a:pt x="261747" y="415620"/>
                </a:lnTo>
                <a:lnTo>
                  <a:pt x="258063" y="413308"/>
                </a:lnTo>
                <a:lnTo>
                  <a:pt x="254888" y="410146"/>
                </a:lnTo>
                <a:lnTo>
                  <a:pt x="249681" y="404977"/>
                </a:lnTo>
                <a:lnTo>
                  <a:pt x="247014" y="398957"/>
                </a:lnTo>
                <a:lnTo>
                  <a:pt x="247014" y="385203"/>
                </a:lnTo>
                <a:lnTo>
                  <a:pt x="249681" y="379158"/>
                </a:lnTo>
                <a:lnTo>
                  <a:pt x="250316" y="360324"/>
                </a:lnTo>
                <a:lnTo>
                  <a:pt x="246125" y="364591"/>
                </a:lnTo>
                <a:lnTo>
                  <a:pt x="241681" y="368985"/>
                </a:lnTo>
                <a:lnTo>
                  <a:pt x="236728" y="371195"/>
                </a:lnTo>
                <a:lnTo>
                  <a:pt x="225806" y="371284"/>
                </a:lnTo>
                <a:lnTo>
                  <a:pt x="220979" y="369163"/>
                </a:lnTo>
                <a:lnTo>
                  <a:pt x="216788" y="364896"/>
                </a:lnTo>
                <a:lnTo>
                  <a:pt x="212978" y="361124"/>
                </a:lnTo>
                <a:lnTo>
                  <a:pt x="211073" y="356488"/>
                </a:lnTo>
                <a:lnTo>
                  <a:pt x="211200" y="350989"/>
                </a:lnTo>
                <a:lnTo>
                  <a:pt x="211328" y="345490"/>
                </a:lnTo>
                <a:lnTo>
                  <a:pt x="213487" y="340626"/>
                </a:lnTo>
                <a:lnTo>
                  <a:pt x="217678" y="336397"/>
                </a:lnTo>
                <a:lnTo>
                  <a:pt x="221869" y="332206"/>
                </a:lnTo>
                <a:lnTo>
                  <a:pt x="231174" y="315474"/>
                </a:lnTo>
                <a:lnTo>
                  <a:pt x="219340" y="319181"/>
                </a:lnTo>
                <a:lnTo>
                  <a:pt x="208406" y="327405"/>
                </a:lnTo>
                <a:lnTo>
                  <a:pt x="206138" y="329804"/>
                </a:lnTo>
                <a:lnTo>
                  <a:pt x="198939" y="340969"/>
                </a:lnTo>
                <a:lnTo>
                  <a:pt x="196341" y="352958"/>
                </a:lnTo>
                <a:lnTo>
                  <a:pt x="196336" y="353202"/>
                </a:lnTo>
                <a:lnTo>
                  <a:pt x="198558" y="365866"/>
                </a:lnTo>
                <a:lnTo>
                  <a:pt x="205739" y="376593"/>
                </a:lnTo>
                <a:lnTo>
                  <a:pt x="210184" y="380949"/>
                </a:lnTo>
                <a:lnTo>
                  <a:pt x="215010" y="383578"/>
                </a:lnTo>
                <a:lnTo>
                  <a:pt x="220344" y="384479"/>
                </a:lnTo>
                <a:lnTo>
                  <a:pt x="225678" y="385381"/>
                </a:lnTo>
                <a:lnTo>
                  <a:pt x="231394" y="384378"/>
                </a:lnTo>
                <a:lnTo>
                  <a:pt x="237744" y="381457"/>
                </a:lnTo>
                <a:lnTo>
                  <a:pt x="233679" y="388404"/>
                </a:lnTo>
                <a:lnTo>
                  <a:pt x="232156" y="395338"/>
                </a:lnTo>
                <a:lnTo>
                  <a:pt x="233044" y="402272"/>
                </a:lnTo>
                <a:lnTo>
                  <a:pt x="234060" y="409206"/>
                </a:lnTo>
                <a:lnTo>
                  <a:pt x="237489" y="415607"/>
                </a:lnTo>
                <a:lnTo>
                  <a:pt x="243331" y="421474"/>
                </a:lnTo>
                <a:lnTo>
                  <a:pt x="247368" y="425027"/>
                </a:lnTo>
                <a:lnTo>
                  <a:pt x="258615" y="431140"/>
                </a:lnTo>
                <a:lnTo>
                  <a:pt x="271272" y="433019"/>
                </a:lnTo>
                <a:lnTo>
                  <a:pt x="270763" y="418528"/>
                </a:lnTo>
                <a:close/>
              </a:path>
              <a:path w="629284" h="626935">
                <a:moveTo>
                  <a:pt x="101218" y="615861"/>
                </a:moveTo>
                <a:lnTo>
                  <a:pt x="10540" y="525233"/>
                </a:lnTo>
                <a:lnTo>
                  <a:pt x="3428" y="532371"/>
                </a:lnTo>
                <a:lnTo>
                  <a:pt x="5460" y="538200"/>
                </a:lnTo>
                <a:lnTo>
                  <a:pt x="6222" y="545503"/>
                </a:lnTo>
                <a:lnTo>
                  <a:pt x="5714" y="554291"/>
                </a:lnTo>
                <a:lnTo>
                  <a:pt x="5577" y="556262"/>
                </a:lnTo>
                <a:lnTo>
                  <a:pt x="3686" y="568594"/>
                </a:lnTo>
                <a:lnTo>
                  <a:pt x="0" y="581139"/>
                </a:lnTo>
                <a:lnTo>
                  <a:pt x="10667" y="591845"/>
                </a:lnTo>
                <a:lnTo>
                  <a:pt x="12953" y="587120"/>
                </a:lnTo>
                <a:lnTo>
                  <a:pt x="14859" y="581329"/>
                </a:lnTo>
                <a:lnTo>
                  <a:pt x="16637" y="574459"/>
                </a:lnTo>
                <a:lnTo>
                  <a:pt x="18414" y="567575"/>
                </a:lnTo>
                <a:lnTo>
                  <a:pt x="19431" y="561530"/>
                </a:lnTo>
                <a:lnTo>
                  <a:pt x="19557" y="556323"/>
                </a:lnTo>
                <a:lnTo>
                  <a:pt x="90169" y="626935"/>
                </a:lnTo>
                <a:lnTo>
                  <a:pt x="101218" y="615861"/>
                </a:lnTo>
                <a:close/>
              </a:path>
              <a:path w="629284" h="626935">
                <a:moveTo>
                  <a:pt x="135353" y="573446"/>
                </a:moveTo>
                <a:lnTo>
                  <a:pt x="147192" y="570105"/>
                </a:lnTo>
                <a:lnTo>
                  <a:pt x="158114" y="562063"/>
                </a:lnTo>
                <a:lnTo>
                  <a:pt x="166181" y="551232"/>
                </a:lnTo>
                <a:lnTo>
                  <a:pt x="170179" y="539318"/>
                </a:lnTo>
                <a:lnTo>
                  <a:pt x="170439" y="537204"/>
                </a:lnTo>
                <a:lnTo>
                  <a:pt x="169858" y="525125"/>
                </a:lnTo>
                <a:lnTo>
                  <a:pt x="165734" y="512533"/>
                </a:lnTo>
                <a:lnTo>
                  <a:pt x="159752" y="502179"/>
                </a:lnTo>
                <a:lnTo>
                  <a:pt x="151928" y="492046"/>
                </a:lnTo>
                <a:lnTo>
                  <a:pt x="141859" y="481228"/>
                </a:lnTo>
                <a:lnTo>
                  <a:pt x="132298" y="472333"/>
                </a:lnTo>
                <a:lnTo>
                  <a:pt x="122008" y="464547"/>
                </a:lnTo>
                <a:lnTo>
                  <a:pt x="112775" y="459625"/>
                </a:lnTo>
                <a:lnTo>
                  <a:pt x="104393" y="456298"/>
                </a:lnTo>
                <a:lnTo>
                  <a:pt x="96138" y="455485"/>
                </a:lnTo>
                <a:lnTo>
                  <a:pt x="88137" y="457187"/>
                </a:lnTo>
                <a:lnTo>
                  <a:pt x="80137" y="458889"/>
                </a:lnTo>
                <a:lnTo>
                  <a:pt x="73151" y="462673"/>
                </a:lnTo>
                <a:lnTo>
                  <a:pt x="67309" y="468553"/>
                </a:lnTo>
                <a:lnTo>
                  <a:pt x="63243" y="473187"/>
                </a:lnTo>
                <a:lnTo>
                  <a:pt x="57253" y="484484"/>
                </a:lnTo>
                <a:lnTo>
                  <a:pt x="55371" y="497204"/>
                </a:lnTo>
                <a:lnTo>
                  <a:pt x="56228" y="504849"/>
                </a:lnTo>
                <a:lnTo>
                  <a:pt x="60821" y="516525"/>
                </a:lnTo>
                <a:lnTo>
                  <a:pt x="69341" y="527405"/>
                </a:lnTo>
                <a:lnTo>
                  <a:pt x="70612" y="487591"/>
                </a:lnTo>
                <a:lnTo>
                  <a:pt x="72897" y="481291"/>
                </a:lnTo>
                <a:lnTo>
                  <a:pt x="77850" y="476364"/>
                </a:lnTo>
                <a:lnTo>
                  <a:pt x="82550" y="471601"/>
                </a:lnTo>
                <a:lnTo>
                  <a:pt x="88518" y="469404"/>
                </a:lnTo>
                <a:lnTo>
                  <a:pt x="95631" y="469747"/>
                </a:lnTo>
                <a:lnTo>
                  <a:pt x="102742" y="470103"/>
                </a:lnTo>
                <a:lnTo>
                  <a:pt x="109473" y="473455"/>
                </a:lnTo>
                <a:lnTo>
                  <a:pt x="115823" y="479818"/>
                </a:lnTo>
                <a:lnTo>
                  <a:pt x="122173" y="486181"/>
                </a:lnTo>
                <a:lnTo>
                  <a:pt x="125603" y="492798"/>
                </a:lnTo>
                <a:lnTo>
                  <a:pt x="125856" y="499694"/>
                </a:lnTo>
                <a:lnTo>
                  <a:pt x="126110" y="506590"/>
                </a:lnTo>
                <a:lnTo>
                  <a:pt x="123697" y="512610"/>
                </a:lnTo>
                <a:lnTo>
                  <a:pt x="118617" y="517740"/>
                </a:lnTo>
                <a:lnTo>
                  <a:pt x="113537" y="522820"/>
                </a:lnTo>
                <a:lnTo>
                  <a:pt x="107441" y="525310"/>
                </a:lnTo>
                <a:lnTo>
                  <a:pt x="100329" y="525183"/>
                </a:lnTo>
                <a:lnTo>
                  <a:pt x="93344" y="525068"/>
                </a:lnTo>
                <a:lnTo>
                  <a:pt x="86867" y="522122"/>
                </a:lnTo>
                <a:lnTo>
                  <a:pt x="81153" y="516381"/>
                </a:lnTo>
                <a:lnTo>
                  <a:pt x="74675" y="509981"/>
                </a:lnTo>
                <a:lnTo>
                  <a:pt x="71373" y="502945"/>
                </a:lnTo>
                <a:lnTo>
                  <a:pt x="75124" y="532470"/>
                </a:lnTo>
                <a:lnTo>
                  <a:pt x="86460" y="538777"/>
                </a:lnTo>
                <a:lnTo>
                  <a:pt x="98551" y="541070"/>
                </a:lnTo>
                <a:lnTo>
                  <a:pt x="102706" y="540961"/>
                </a:lnTo>
                <a:lnTo>
                  <a:pt x="115062" y="537769"/>
                </a:lnTo>
                <a:lnTo>
                  <a:pt x="125603" y="530237"/>
                </a:lnTo>
                <a:lnTo>
                  <a:pt x="130175" y="525767"/>
                </a:lnTo>
                <a:lnTo>
                  <a:pt x="133222" y="520509"/>
                </a:lnTo>
                <a:lnTo>
                  <a:pt x="134873" y="514476"/>
                </a:lnTo>
                <a:lnTo>
                  <a:pt x="136397" y="508444"/>
                </a:lnTo>
                <a:lnTo>
                  <a:pt x="136651" y="502551"/>
                </a:lnTo>
                <a:lnTo>
                  <a:pt x="135254" y="496811"/>
                </a:lnTo>
                <a:lnTo>
                  <a:pt x="137540" y="498957"/>
                </a:lnTo>
                <a:lnTo>
                  <a:pt x="142239" y="503554"/>
                </a:lnTo>
                <a:lnTo>
                  <a:pt x="146176" y="508622"/>
                </a:lnTo>
                <a:lnTo>
                  <a:pt x="149478" y="514172"/>
                </a:lnTo>
                <a:lnTo>
                  <a:pt x="152781" y="519709"/>
                </a:lnTo>
                <a:lnTo>
                  <a:pt x="154939" y="524598"/>
                </a:lnTo>
                <a:lnTo>
                  <a:pt x="155956" y="528853"/>
                </a:lnTo>
                <a:lnTo>
                  <a:pt x="156844" y="533095"/>
                </a:lnTo>
                <a:lnTo>
                  <a:pt x="156844" y="537286"/>
                </a:lnTo>
                <a:lnTo>
                  <a:pt x="155828" y="541413"/>
                </a:lnTo>
                <a:lnTo>
                  <a:pt x="154812" y="545528"/>
                </a:lnTo>
                <a:lnTo>
                  <a:pt x="152653" y="549300"/>
                </a:lnTo>
                <a:lnTo>
                  <a:pt x="149225" y="552703"/>
                </a:lnTo>
                <a:lnTo>
                  <a:pt x="145287" y="556691"/>
                </a:lnTo>
                <a:lnTo>
                  <a:pt x="140842" y="558825"/>
                </a:lnTo>
                <a:lnTo>
                  <a:pt x="136016" y="559104"/>
                </a:lnTo>
                <a:lnTo>
                  <a:pt x="131190" y="559396"/>
                </a:lnTo>
                <a:lnTo>
                  <a:pt x="125856" y="557491"/>
                </a:lnTo>
                <a:lnTo>
                  <a:pt x="120014" y="553377"/>
                </a:lnTo>
                <a:lnTo>
                  <a:pt x="110362" y="565022"/>
                </a:lnTo>
                <a:lnTo>
                  <a:pt x="111198" y="565657"/>
                </a:lnTo>
                <a:lnTo>
                  <a:pt x="122901" y="571929"/>
                </a:lnTo>
                <a:lnTo>
                  <a:pt x="134873" y="573481"/>
                </a:lnTo>
                <a:lnTo>
                  <a:pt x="135353" y="573446"/>
                </a:lnTo>
                <a:close/>
              </a:path>
              <a:path w="629284" h="626935">
                <a:moveTo>
                  <a:pt x="71373" y="502945"/>
                </a:moveTo>
                <a:lnTo>
                  <a:pt x="70992" y="495261"/>
                </a:lnTo>
                <a:lnTo>
                  <a:pt x="70612" y="487591"/>
                </a:lnTo>
                <a:lnTo>
                  <a:pt x="69341" y="527405"/>
                </a:lnTo>
                <a:lnTo>
                  <a:pt x="75124" y="532470"/>
                </a:lnTo>
                <a:lnTo>
                  <a:pt x="71373" y="502945"/>
                </a:lnTo>
                <a:close/>
              </a:path>
              <a:path w="629284" h="626935">
                <a:moveTo>
                  <a:pt x="205348" y="503413"/>
                </a:moveTo>
                <a:lnTo>
                  <a:pt x="217229" y="500080"/>
                </a:lnTo>
                <a:lnTo>
                  <a:pt x="228091" y="492023"/>
                </a:lnTo>
                <a:lnTo>
                  <a:pt x="236207" y="481185"/>
                </a:lnTo>
                <a:lnTo>
                  <a:pt x="240156" y="469264"/>
                </a:lnTo>
                <a:lnTo>
                  <a:pt x="240447" y="467108"/>
                </a:lnTo>
                <a:lnTo>
                  <a:pt x="239874" y="455060"/>
                </a:lnTo>
                <a:lnTo>
                  <a:pt x="235712" y="442493"/>
                </a:lnTo>
                <a:lnTo>
                  <a:pt x="229792" y="432171"/>
                </a:lnTo>
                <a:lnTo>
                  <a:pt x="222018" y="422023"/>
                </a:lnTo>
                <a:lnTo>
                  <a:pt x="211962" y="411187"/>
                </a:lnTo>
                <a:lnTo>
                  <a:pt x="202334" y="402231"/>
                </a:lnTo>
                <a:lnTo>
                  <a:pt x="192047" y="394481"/>
                </a:lnTo>
                <a:lnTo>
                  <a:pt x="182753" y="389572"/>
                </a:lnTo>
                <a:lnTo>
                  <a:pt x="174370" y="386245"/>
                </a:lnTo>
                <a:lnTo>
                  <a:pt x="166242" y="385444"/>
                </a:lnTo>
                <a:lnTo>
                  <a:pt x="158114" y="387146"/>
                </a:lnTo>
                <a:lnTo>
                  <a:pt x="150113" y="388848"/>
                </a:lnTo>
                <a:lnTo>
                  <a:pt x="143256" y="392633"/>
                </a:lnTo>
                <a:lnTo>
                  <a:pt x="137287" y="398500"/>
                </a:lnTo>
                <a:lnTo>
                  <a:pt x="133189" y="403180"/>
                </a:lnTo>
                <a:lnTo>
                  <a:pt x="127249" y="414461"/>
                </a:lnTo>
                <a:lnTo>
                  <a:pt x="125475" y="427164"/>
                </a:lnTo>
                <a:lnTo>
                  <a:pt x="126330" y="434795"/>
                </a:lnTo>
                <a:lnTo>
                  <a:pt x="130923" y="446474"/>
                </a:lnTo>
                <a:lnTo>
                  <a:pt x="139445" y="457352"/>
                </a:lnTo>
                <a:lnTo>
                  <a:pt x="140715" y="417550"/>
                </a:lnTo>
                <a:lnTo>
                  <a:pt x="142875" y="411251"/>
                </a:lnTo>
                <a:lnTo>
                  <a:pt x="147828" y="406323"/>
                </a:lnTo>
                <a:lnTo>
                  <a:pt x="152653" y="401561"/>
                </a:lnTo>
                <a:lnTo>
                  <a:pt x="158495" y="399351"/>
                </a:lnTo>
                <a:lnTo>
                  <a:pt x="165734" y="399707"/>
                </a:lnTo>
                <a:lnTo>
                  <a:pt x="172847" y="400049"/>
                </a:lnTo>
                <a:lnTo>
                  <a:pt x="179578" y="403402"/>
                </a:lnTo>
                <a:lnTo>
                  <a:pt x="185928" y="409765"/>
                </a:lnTo>
                <a:lnTo>
                  <a:pt x="192278" y="416128"/>
                </a:lnTo>
                <a:lnTo>
                  <a:pt x="195579" y="422757"/>
                </a:lnTo>
                <a:lnTo>
                  <a:pt x="195834" y="429653"/>
                </a:lnTo>
                <a:lnTo>
                  <a:pt x="196214" y="436549"/>
                </a:lnTo>
                <a:lnTo>
                  <a:pt x="193801" y="442556"/>
                </a:lnTo>
                <a:lnTo>
                  <a:pt x="188594" y="447687"/>
                </a:lnTo>
                <a:lnTo>
                  <a:pt x="183514" y="452780"/>
                </a:lnTo>
                <a:lnTo>
                  <a:pt x="177419" y="455269"/>
                </a:lnTo>
                <a:lnTo>
                  <a:pt x="170434" y="455142"/>
                </a:lnTo>
                <a:lnTo>
                  <a:pt x="163322" y="455015"/>
                </a:lnTo>
                <a:lnTo>
                  <a:pt x="156972" y="452081"/>
                </a:lnTo>
                <a:lnTo>
                  <a:pt x="151129" y="446341"/>
                </a:lnTo>
                <a:lnTo>
                  <a:pt x="144779" y="439927"/>
                </a:lnTo>
                <a:lnTo>
                  <a:pt x="141350" y="432892"/>
                </a:lnTo>
                <a:lnTo>
                  <a:pt x="145218" y="462420"/>
                </a:lnTo>
                <a:lnTo>
                  <a:pt x="156511" y="468727"/>
                </a:lnTo>
                <a:lnTo>
                  <a:pt x="168656" y="471030"/>
                </a:lnTo>
                <a:lnTo>
                  <a:pt x="172808" y="470919"/>
                </a:lnTo>
                <a:lnTo>
                  <a:pt x="185115" y="467719"/>
                </a:lnTo>
                <a:lnTo>
                  <a:pt x="195706" y="460184"/>
                </a:lnTo>
                <a:lnTo>
                  <a:pt x="200151" y="455714"/>
                </a:lnTo>
                <a:lnTo>
                  <a:pt x="203200" y="450456"/>
                </a:lnTo>
                <a:lnTo>
                  <a:pt x="204850" y="444423"/>
                </a:lnTo>
                <a:lnTo>
                  <a:pt x="206501" y="438391"/>
                </a:lnTo>
                <a:lnTo>
                  <a:pt x="206628" y="432511"/>
                </a:lnTo>
                <a:lnTo>
                  <a:pt x="205359" y="426758"/>
                </a:lnTo>
                <a:lnTo>
                  <a:pt x="207644" y="428917"/>
                </a:lnTo>
                <a:lnTo>
                  <a:pt x="212216" y="433514"/>
                </a:lnTo>
                <a:lnTo>
                  <a:pt x="216153" y="438581"/>
                </a:lnTo>
                <a:lnTo>
                  <a:pt x="219456" y="444118"/>
                </a:lnTo>
                <a:lnTo>
                  <a:pt x="222884" y="449656"/>
                </a:lnTo>
                <a:lnTo>
                  <a:pt x="225044" y="454558"/>
                </a:lnTo>
                <a:lnTo>
                  <a:pt x="225932" y="458800"/>
                </a:lnTo>
                <a:lnTo>
                  <a:pt x="226948" y="463054"/>
                </a:lnTo>
                <a:lnTo>
                  <a:pt x="226948" y="467232"/>
                </a:lnTo>
                <a:lnTo>
                  <a:pt x="225932" y="471360"/>
                </a:lnTo>
                <a:lnTo>
                  <a:pt x="224916" y="475487"/>
                </a:lnTo>
                <a:lnTo>
                  <a:pt x="222631" y="479247"/>
                </a:lnTo>
                <a:lnTo>
                  <a:pt x="219328" y="482663"/>
                </a:lnTo>
                <a:lnTo>
                  <a:pt x="215264" y="486638"/>
                </a:lnTo>
                <a:lnTo>
                  <a:pt x="210947" y="488772"/>
                </a:lnTo>
                <a:lnTo>
                  <a:pt x="206120" y="489064"/>
                </a:lnTo>
                <a:lnTo>
                  <a:pt x="201294" y="489343"/>
                </a:lnTo>
                <a:lnTo>
                  <a:pt x="195960" y="487438"/>
                </a:lnTo>
                <a:lnTo>
                  <a:pt x="189991" y="483336"/>
                </a:lnTo>
                <a:lnTo>
                  <a:pt x="180339" y="494969"/>
                </a:lnTo>
                <a:lnTo>
                  <a:pt x="181275" y="495678"/>
                </a:lnTo>
                <a:lnTo>
                  <a:pt x="192996" y="501895"/>
                </a:lnTo>
                <a:lnTo>
                  <a:pt x="204978" y="503440"/>
                </a:lnTo>
                <a:lnTo>
                  <a:pt x="205348" y="503413"/>
                </a:lnTo>
                <a:close/>
              </a:path>
              <a:path w="629284" h="626935">
                <a:moveTo>
                  <a:pt x="141350" y="432892"/>
                </a:moveTo>
                <a:lnTo>
                  <a:pt x="140969" y="425221"/>
                </a:lnTo>
                <a:lnTo>
                  <a:pt x="140715" y="417550"/>
                </a:lnTo>
                <a:lnTo>
                  <a:pt x="139445" y="457352"/>
                </a:lnTo>
                <a:lnTo>
                  <a:pt x="145218" y="462420"/>
                </a:lnTo>
                <a:lnTo>
                  <a:pt x="141350" y="432892"/>
                </a:lnTo>
                <a:close/>
              </a:path>
              <a:path w="629284" h="626935">
                <a:moveTo>
                  <a:pt x="278178" y="432281"/>
                </a:moveTo>
                <a:lnTo>
                  <a:pt x="289888" y="427835"/>
                </a:lnTo>
                <a:lnTo>
                  <a:pt x="300735" y="419379"/>
                </a:lnTo>
                <a:lnTo>
                  <a:pt x="305926" y="413438"/>
                </a:lnTo>
                <a:lnTo>
                  <a:pt x="312171" y="402113"/>
                </a:lnTo>
                <a:lnTo>
                  <a:pt x="314451" y="389953"/>
                </a:lnTo>
                <a:lnTo>
                  <a:pt x="314244" y="385173"/>
                </a:lnTo>
                <a:lnTo>
                  <a:pt x="310830" y="372936"/>
                </a:lnTo>
                <a:lnTo>
                  <a:pt x="303148" y="362318"/>
                </a:lnTo>
                <a:lnTo>
                  <a:pt x="297560" y="356730"/>
                </a:lnTo>
                <a:lnTo>
                  <a:pt x="291338" y="353377"/>
                </a:lnTo>
                <a:lnTo>
                  <a:pt x="284479" y="352247"/>
                </a:lnTo>
                <a:lnTo>
                  <a:pt x="277494" y="351116"/>
                </a:lnTo>
                <a:lnTo>
                  <a:pt x="270382" y="352424"/>
                </a:lnTo>
                <a:lnTo>
                  <a:pt x="263016" y="356158"/>
                </a:lnTo>
                <a:lnTo>
                  <a:pt x="265810" y="349999"/>
                </a:lnTo>
                <a:lnTo>
                  <a:pt x="266700" y="344271"/>
                </a:lnTo>
                <a:lnTo>
                  <a:pt x="265810" y="338988"/>
                </a:lnTo>
                <a:lnTo>
                  <a:pt x="264922" y="333692"/>
                </a:lnTo>
                <a:lnTo>
                  <a:pt x="262381" y="328942"/>
                </a:lnTo>
                <a:lnTo>
                  <a:pt x="258190" y="324764"/>
                </a:lnTo>
                <a:lnTo>
                  <a:pt x="257833" y="324407"/>
                </a:lnTo>
                <a:lnTo>
                  <a:pt x="247129" y="317374"/>
                </a:lnTo>
                <a:lnTo>
                  <a:pt x="234314" y="315252"/>
                </a:lnTo>
                <a:lnTo>
                  <a:pt x="231174" y="315474"/>
                </a:lnTo>
                <a:lnTo>
                  <a:pt x="221869" y="332206"/>
                </a:lnTo>
                <a:lnTo>
                  <a:pt x="226694" y="330098"/>
                </a:lnTo>
                <a:lnTo>
                  <a:pt x="237870" y="330009"/>
                </a:lnTo>
                <a:lnTo>
                  <a:pt x="242697" y="332028"/>
                </a:lnTo>
                <a:lnTo>
                  <a:pt x="246760" y="336092"/>
                </a:lnTo>
                <a:lnTo>
                  <a:pt x="250697" y="339991"/>
                </a:lnTo>
                <a:lnTo>
                  <a:pt x="252603" y="344652"/>
                </a:lnTo>
                <a:lnTo>
                  <a:pt x="252603" y="350062"/>
                </a:lnTo>
                <a:lnTo>
                  <a:pt x="252475" y="355485"/>
                </a:lnTo>
                <a:lnTo>
                  <a:pt x="250316" y="360324"/>
                </a:lnTo>
                <a:lnTo>
                  <a:pt x="249681" y="379158"/>
                </a:lnTo>
                <a:lnTo>
                  <a:pt x="254888" y="373951"/>
                </a:lnTo>
                <a:lnTo>
                  <a:pt x="260222" y="368617"/>
                </a:lnTo>
                <a:lnTo>
                  <a:pt x="266319" y="365912"/>
                </a:lnTo>
                <a:lnTo>
                  <a:pt x="280416" y="365798"/>
                </a:lnTo>
                <a:lnTo>
                  <a:pt x="286638" y="368426"/>
                </a:lnTo>
                <a:lnTo>
                  <a:pt x="291972" y="373760"/>
                </a:lnTo>
                <a:lnTo>
                  <a:pt x="297179" y="379018"/>
                </a:lnTo>
                <a:lnTo>
                  <a:pt x="299847" y="385076"/>
                </a:lnTo>
                <a:lnTo>
                  <a:pt x="299719" y="391921"/>
                </a:lnTo>
                <a:lnTo>
                  <a:pt x="299719" y="398779"/>
                </a:lnTo>
                <a:lnTo>
                  <a:pt x="297053" y="404850"/>
                </a:lnTo>
                <a:lnTo>
                  <a:pt x="291719" y="410146"/>
                </a:lnTo>
                <a:lnTo>
                  <a:pt x="288416" y="413562"/>
                </a:lnTo>
                <a:lnTo>
                  <a:pt x="284353" y="415924"/>
                </a:lnTo>
                <a:lnTo>
                  <a:pt x="279781" y="417258"/>
                </a:lnTo>
                <a:lnTo>
                  <a:pt x="275209" y="418591"/>
                </a:lnTo>
                <a:lnTo>
                  <a:pt x="270763" y="418528"/>
                </a:lnTo>
                <a:lnTo>
                  <a:pt x="271272" y="433019"/>
                </a:lnTo>
                <a:lnTo>
                  <a:pt x="278178" y="43228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1" name="object 191"/>
          <p:cNvSpPr/>
          <p:nvPr/>
        </p:nvSpPr>
        <p:spPr>
          <a:xfrm>
            <a:off x="1843151" y="3958141"/>
            <a:ext cx="646938" cy="497476"/>
          </a:xfrm>
          <a:custGeom>
            <a:avLst/>
            <a:gdLst/>
            <a:ahLst/>
            <a:cxnLst/>
            <a:rect l="l" t="t" r="r" b="b"/>
            <a:pathLst>
              <a:path w="646938" h="664222">
                <a:moveTo>
                  <a:pt x="175387" y="564870"/>
                </a:moveTo>
                <a:lnTo>
                  <a:pt x="181991" y="558266"/>
                </a:lnTo>
                <a:lnTo>
                  <a:pt x="185800" y="551014"/>
                </a:lnTo>
                <a:lnTo>
                  <a:pt x="186562" y="543140"/>
                </a:lnTo>
                <a:lnTo>
                  <a:pt x="186594" y="542800"/>
                </a:lnTo>
                <a:lnTo>
                  <a:pt x="185762" y="530836"/>
                </a:lnTo>
                <a:lnTo>
                  <a:pt x="181229" y="518299"/>
                </a:lnTo>
                <a:lnTo>
                  <a:pt x="176398" y="510092"/>
                </a:lnTo>
                <a:lnTo>
                  <a:pt x="168758" y="500089"/>
                </a:lnTo>
                <a:lnTo>
                  <a:pt x="158876" y="489394"/>
                </a:lnTo>
                <a:lnTo>
                  <a:pt x="154594" y="485242"/>
                </a:lnTo>
                <a:lnTo>
                  <a:pt x="144421" y="476342"/>
                </a:lnTo>
                <a:lnTo>
                  <a:pt x="135509" y="470090"/>
                </a:lnTo>
                <a:lnTo>
                  <a:pt x="128778" y="466166"/>
                </a:lnTo>
                <a:lnTo>
                  <a:pt x="122428" y="463562"/>
                </a:lnTo>
                <a:lnTo>
                  <a:pt x="116459" y="462267"/>
                </a:lnTo>
                <a:lnTo>
                  <a:pt x="110362" y="460984"/>
                </a:lnTo>
                <a:lnTo>
                  <a:pt x="104521" y="461187"/>
                </a:lnTo>
                <a:lnTo>
                  <a:pt x="98932" y="462889"/>
                </a:lnTo>
                <a:lnTo>
                  <a:pt x="93344" y="464591"/>
                </a:lnTo>
                <a:lnTo>
                  <a:pt x="88137" y="467868"/>
                </a:lnTo>
                <a:lnTo>
                  <a:pt x="83312" y="472706"/>
                </a:lnTo>
                <a:lnTo>
                  <a:pt x="76707" y="479272"/>
                </a:lnTo>
                <a:lnTo>
                  <a:pt x="73025" y="486486"/>
                </a:lnTo>
                <a:lnTo>
                  <a:pt x="72262" y="494347"/>
                </a:lnTo>
                <a:lnTo>
                  <a:pt x="72223" y="494717"/>
                </a:lnTo>
                <a:lnTo>
                  <a:pt x="72955" y="506648"/>
                </a:lnTo>
                <a:lnTo>
                  <a:pt x="77469" y="519188"/>
                </a:lnTo>
                <a:lnTo>
                  <a:pt x="82374" y="527525"/>
                </a:lnTo>
                <a:lnTo>
                  <a:pt x="90023" y="537533"/>
                </a:lnTo>
                <a:lnTo>
                  <a:pt x="89709" y="509442"/>
                </a:lnTo>
                <a:lnTo>
                  <a:pt x="86613" y="500659"/>
                </a:lnTo>
                <a:lnTo>
                  <a:pt x="85343" y="493306"/>
                </a:lnTo>
                <a:lnTo>
                  <a:pt x="87249" y="487095"/>
                </a:lnTo>
                <a:lnTo>
                  <a:pt x="92329" y="482003"/>
                </a:lnTo>
                <a:lnTo>
                  <a:pt x="97536" y="476834"/>
                </a:lnTo>
                <a:lnTo>
                  <a:pt x="104267" y="474954"/>
                </a:lnTo>
                <a:lnTo>
                  <a:pt x="112649" y="476377"/>
                </a:lnTo>
                <a:lnTo>
                  <a:pt x="124264" y="481348"/>
                </a:lnTo>
                <a:lnTo>
                  <a:pt x="134985" y="489267"/>
                </a:lnTo>
                <a:lnTo>
                  <a:pt x="147447" y="500786"/>
                </a:lnTo>
                <a:lnTo>
                  <a:pt x="151767" y="505226"/>
                </a:lnTo>
                <a:lnTo>
                  <a:pt x="162001" y="517040"/>
                </a:lnTo>
                <a:lnTo>
                  <a:pt x="168689" y="527143"/>
                </a:lnTo>
                <a:lnTo>
                  <a:pt x="171831" y="535533"/>
                </a:lnTo>
                <a:lnTo>
                  <a:pt x="173228" y="543928"/>
                </a:lnTo>
                <a:lnTo>
                  <a:pt x="171450" y="550672"/>
                </a:lnTo>
                <a:lnTo>
                  <a:pt x="166369" y="555752"/>
                </a:lnTo>
                <a:lnTo>
                  <a:pt x="164787" y="572726"/>
                </a:lnTo>
                <a:lnTo>
                  <a:pt x="175387" y="564870"/>
                </a:lnTo>
                <a:close/>
              </a:path>
              <a:path w="646938" h="664222">
                <a:moveTo>
                  <a:pt x="132715" y="604558"/>
                </a:moveTo>
                <a:lnTo>
                  <a:pt x="122047" y="593915"/>
                </a:lnTo>
                <a:lnTo>
                  <a:pt x="77724" y="638175"/>
                </a:lnTo>
                <a:lnTo>
                  <a:pt x="76962" y="634936"/>
                </a:lnTo>
                <a:lnTo>
                  <a:pt x="76581" y="631380"/>
                </a:lnTo>
                <a:lnTo>
                  <a:pt x="76454" y="627494"/>
                </a:lnTo>
                <a:lnTo>
                  <a:pt x="76326" y="623620"/>
                </a:lnTo>
                <a:lnTo>
                  <a:pt x="76835" y="615569"/>
                </a:lnTo>
                <a:lnTo>
                  <a:pt x="77850" y="603338"/>
                </a:lnTo>
                <a:lnTo>
                  <a:pt x="78590" y="593746"/>
                </a:lnTo>
                <a:lnTo>
                  <a:pt x="79215" y="580412"/>
                </a:lnTo>
                <a:lnTo>
                  <a:pt x="79121" y="570369"/>
                </a:lnTo>
                <a:lnTo>
                  <a:pt x="78612" y="563079"/>
                </a:lnTo>
                <a:lnTo>
                  <a:pt x="77469" y="556958"/>
                </a:lnTo>
                <a:lnTo>
                  <a:pt x="75437" y="551992"/>
                </a:lnTo>
                <a:lnTo>
                  <a:pt x="73406" y="547027"/>
                </a:lnTo>
                <a:lnTo>
                  <a:pt x="70612" y="542734"/>
                </a:lnTo>
                <a:lnTo>
                  <a:pt x="66929" y="539127"/>
                </a:lnTo>
                <a:lnTo>
                  <a:pt x="54265" y="530836"/>
                </a:lnTo>
                <a:lnTo>
                  <a:pt x="41529" y="528840"/>
                </a:lnTo>
                <a:lnTo>
                  <a:pt x="36478" y="529348"/>
                </a:lnTo>
                <a:lnTo>
                  <a:pt x="24862" y="533619"/>
                </a:lnTo>
                <a:lnTo>
                  <a:pt x="13843" y="542201"/>
                </a:lnTo>
                <a:lnTo>
                  <a:pt x="9850" y="546543"/>
                </a:lnTo>
                <a:lnTo>
                  <a:pt x="2850" y="557711"/>
                </a:lnTo>
                <a:lnTo>
                  <a:pt x="0" y="569379"/>
                </a:lnTo>
                <a:lnTo>
                  <a:pt x="38" y="574232"/>
                </a:lnTo>
                <a:lnTo>
                  <a:pt x="3163" y="585987"/>
                </a:lnTo>
                <a:lnTo>
                  <a:pt x="10541" y="597611"/>
                </a:lnTo>
                <a:lnTo>
                  <a:pt x="23113" y="587387"/>
                </a:lnTo>
                <a:lnTo>
                  <a:pt x="17525" y="581685"/>
                </a:lnTo>
                <a:lnTo>
                  <a:pt x="14731" y="575627"/>
                </a:lnTo>
                <a:lnTo>
                  <a:pt x="14731" y="562825"/>
                </a:lnTo>
                <a:lnTo>
                  <a:pt x="17399" y="556958"/>
                </a:lnTo>
                <a:lnTo>
                  <a:pt x="22732" y="551624"/>
                </a:lnTo>
                <a:lnTo>
                  <a:pt x="27812" y="546569"/>
                </a:lnTo>
                <a:lnTo>
                  <a:pt x="33400" y="543979"/>
                </a:lnTo>
                <a:lnTo>
                  <a:pt x="45719" y="543737"/>
                </a:lnTo>
                <a:lnTo>
                  <a:pt x="50926" y="545871"/>
                </a:lnTo>
                <a:lnTo>
                  <a:pt x="55372" y="550265"/>
                </a:lnTo>
                <a:lnTo>
                  <a:pt x="59562" y="554456"/>
                </a:lnTo>
                <a:lnTo>
                  <a:pt x="62230" y="560616"/>
                </a:lnTo>
                <a:lnTo>
                  <a:pt x="63500" y="568769"/>
                </a:lnTo>
                <a:lnTo>
                  <a:pt x="64274" y="579141"/>
                </a:lnTo>
                <a:lnTo>
                  <a:pt x="63987" y="591922"/>
                </a:lnTo>
                <a:lnTo>
                  <a:pt x="62737" y="607771"/>
                </a:lnTo>
                <a:lnTo>
                  <a:pt x="62421" y="611150"/>
                </a:lnTo>
                <a:lnTo>
                  <a:pt x="61637" y="624817"/>
                </a:lnTo>
                <a:lnTo>
                  <a:pt x="61849" y="635927"/>
                </a:lnTo>
                <a:lnTo>
                  <a:pt x="62484" y="643216"/>
                </a:lnTo>
                <a:lnTo>
                  <a:pt x="64007" y="649655"/>
                </a:lnTo>
                <a:lnTo>
                  <a:pt x="66548" y="655231"/>
                </a:lnTo>
                <a:lnTo>
                  <a:pt x="68072" y="658634"/>
                </a:lnTo>
                <a:lnTo>
                  <a:pt x="70231" y="661631"/>
                </a:lnTo>
                <a:lnTo>
                  <a:pt x="73025" y="664222"/>
                </a:lnTo>
                <a:lnTo>
                  <a:pt x="132715" y="604558"/>
                </a:lnTo>
                <a:close/>
              </a:path>
              <a:path w="646938" h="664222">
                <a:moveTo>
                  <a:pt x="164787" y="572726"/>
                </a:moveTo>
                <a:lnTo>
                  <a:pt x="166369" y="555752"/>
                </a:lnTo>
                <a:lnTo>
                  <a:pt x="161290" y="560844"/>
                </a:lnTo>
                <a:lnTo>
                  <a:pt x="154559" y="562673"/>
                </a:lnTo>
                <a:lnTo>
                  <a:pt x="146176" y="561238"/>
                </a:lnTo>
                <a:lnTo>
                  <a:pt x="143472" y="560579"/>
                </a:lnTo>
                <a:lnTo>
                  <a:pt x="134476" y="556258"/>
                </a:lnTo>
                <a:lnTo>
                  <a:pt x="123764" y="548350"/>
                </a:lnTo>
                <a:lnTo>
                  <a:pt x="111379" y="536854"/>
                </a:lnTo>
                <a:lnTo>
                  <a:pt x="105869" y="531164"/>
                </a:lnTo>
                <a:lnTo>
                  <a:pt x="96128" y="519612"/>
                </a:lnTo>
                <a:lnTo>
                  <a:pt x="89709" y="509442"/>
                </a:lnTo>
                <a:lnTo>
                  <a:pt x="90023" y="537533"/>
                </a:lnTo>
                <a:lnTo>
                  <a:pt x="99949" y="548246"/>
                </a:lnTo>
                <a:lnTo>
                  <a:pt x="102403" y="550650"/>
                </a:lnTo>
                <a:lnTo>
                  <a:pt x="114101" y="560911"/>
                </a:lnTo>
                <a:lnTo>
                  <a:pt x="125176" y="568556"/>
                </a:lnTo>
                <a:lnTo>
                  <a:pt x="135649" y="573588"/>
                </a:lnTo>
                <a:lnTo>
                  <a:pt x="145542" y="576008"/>
                </a:lnTo>
                <a:lnTo>
                  <a:pt x="153003" y="576105"/>
                </a:lnTo>
                <a:lnTo>
                  <a:pt x="164787" y="572726"/>
                </a:lnTo>
                <a:close/>
              </a:path>
              <a:path w="646938" h="664222">
                <a:moveTo>
                  <a:pt x="175881" y="461111"/>
                </a:moveTo>
                <a:lnTo>
                  <a:pt x="166194" y="449560"/>
                </a:lnTo>
                <a:lnTo>
                  <a:pt x="159763" y="439392"/>
                </a:lnTo>
                <a:lnTo>
                  <a:pt x="156591" y="430606"/>
                </a:lnTo>
                <a:lnTo>
                  <a:pt x="160127" y="467487"/>
                </a:lnTo>
                <a:lnTo>
                  <a:pt x="170053" y="478205"/>
                </a:lnTo>
                <a:lnTo>
                  <a:pt x="172490" y="480608"/>
                </a:lnTo>
                <a:lnTo>
                  <a:pt x="184149" y="490865"/>
                </a:lnTo>
                <a:lnTo>
                  <a:pt x="175881" y="461111"/>
                </a:lnTo>
                <a:close/>
              </a:path>
              <a:path w="646938" h="664222">
                <a:moveTo>
                  <a:pt x="234802" y="502682"/>
                </a:moveTo>
                <a:lnTo>
                  <a:pt x="245491" y="494817"/>
                </a:lnTo>
                <a:lnTo>
                  <a:pt x="252094" y="488213"/>
                </a:lnTo>
                <a:lnTo>
                  <a:pt x="255778" y="480974"/>
                </a:lnTo>
                <a:lnTo>
                  <a:pt x="256540" y="473087"/>
                </a:lnTo>
                <a:lnTo>
                  <a:pt x="256571" y="472747"/>
                </a:lnTo>
                <a:lnTo>
                  <a:pt x="255739" y="460793"/>
                </a:lnTo>
                <a:lnTo>
                  <a:pt x="251206" y="448246"/>
                </a:lnTo>
                <a:lnTo>
                  <a:pt x="246375" y="440044"/>
                </a:lnTo>
                <a:lnTo>
                  <a:pt x="238735" y="430039"/>
                </a:lnTo>
                <a:lnTo>
                  <a:pt x="228854" y="419341"/>
                </a:lnTo>
                <a:lnTo>
                  <a:pt x="224620" y="415198"/>
                </a:lnTo>
                <a:lnTo>
                  <a:pt x="214440" y="406298"/>
                </a:lnTo>
                <a:lnTo>
                  <a:pt x="205486" y="400050"/>
                </a:lnTo>
                <a:lnTo>
                  <a:pt x="198881" y="396125"/>
                </a:lnTo>
                <a:lnTo>
                  <a:pt x="192531" y="393522"/>
                </a:lnTo>
                <a:lnTo>
                  <a:pt x="186436" y="392226"/>
                </a:lnTo>
                <a:lnTo>
                  <a:pt x="180467" y="390931"/>
                </a:lnTo>
                <a:lnTo>
                  <a:pt x="174625" y="391134"/>
                </a:lnTo>
                <a:lnTo>
                  <a:pt x="169037" y="392836"/>
                </a:lnTo>
                <a:lnTo>
                  <a:pt x="163449" y="394550"/>
                </a:lnTo>
                <a:lnTo>
                  <a:pt x="158115" y="397814"/>
                </a:lnTo>
                <a:lnTo>
                  <a:pt x="153288" y="402666"/>
                </a:lnTo>
                <a:lnTo>
                  <a:pt x="146812" y="409232"/>
                </a:lnTo>
                <a:lnTo>
                  <a:pt x="143129" y="416445"/>
                </a:lnTo>
                <a:lnTo>
                  <a:pt x="142240" y="424307"/>
                </a:lnTo>
                <a:lnTo>
                  <a:pt x="142208" y="424645"/>
                </a:lnTo>
                <a:lnTo>
                  <a:pt x="143040" y="436582"/>
                </a:lnTo>
                <a:lnTo>
                  <a:pt x="147574" y="449148"/>
                </a:lnTo>
                <a:lnTo>
                  <a:pt x="152478" y="457482"/>
                </a:lnTo>
                <a:lnTo>
                  <a:pt x="160127" y="467487"/>
                </a:lnTo>
                <a:lnTo>
                  <a:pt x="156591" y="430606"/>
                </a:lnTo>
                <a:lnTo>
                  <a:pt x="155321" y="423265"/>
                </a:lnTo>
                <a:lnTo>
                  <a:pt x="157225" y="417042"/>
                </a:lnTo>
                <a:lnTo>
                  <a:pt x="162432" y="411962"/>
                </a:lnTo>
                <a:lnTo>
                  <a:pt x="167512" y="406781"/>
                </a:lnTo>
                <a:lnTo>
                  <a:pt x="174371" y="404914"/>
                </a:lnTo>
                <a:lnTo>
                  <a:pt x="182625" y="406323"/>
                </a:lnTo>
                <a:lnTo>
                  <a:pt x="194296" y="411300"/>
                </a:lnTo>
                <a:lnTo>
                  <a:pt x="204986" y="419216"/>
                </a:lnTo>
                <a:lnTo>
                  <a:pt x="217424" y="430733"/>
                </a:lnTo>
                <a:lnTo>
                  <a:pt x="221788" y="435185"/>
                </a:lnTo>
                <a:lnTo>
                  <a:pt x="232074" y="447002"/>
                </a:lnTo>
                <a:lnTo>
                  <a:pt x="238747" y="457104"/>
                </a:lnTo>
                <a:lnTo>
                  <a:pt x="241807" y="465493"/>
                </a:lnTo>
                <a:lnTo>
                  <a:pt x="243331" y="473875"/>
                </a:lnTo>
                <a:lnTo>
                  <a:pt x="241426" y="480618"/>
                </a:lnTo>
                <a:lnTo>
                  <a:pt x="236347" y="485711"/>
                </a:lnTo>
                <a:lnTo>
                  <a:pt x="231267" y="490804"/>
                </a:lnTo>
                <a:lnTo>
                  <a:pt x="224536" y="492633"/>
                </a:lnTo>
                <a:lnTo>
                  <a:pt x="216154" y="491185"/>
                </a:lnTo>
                <a:lnTo>
                  <a:pt x="204493" y="486207"/>
                </a:lnTo>
                <a:lnTo>
                  <a:pt x="193799" y="478302"/>
                </a:lnTo>
                <a:lnTo>
                  <a:pt x="181356" y="466813"/>
                </a:lnTo>
                <a:lnTo>
                  <a:pt x="175881" y="461111"/>
                </a:lnTo>
                <a:lnTo>
                  <a:pt x="184149" y="490865"/>
                </a:lnTo>
                <a:lnTo>
                  <a:pt x="195235" y="498511"/>
                </a:lnTo>
                <a:lnTo>
                  <a:pt x="205737" y="503546"/>
                </a:lnTo>
                <a:lnTo>
                  <a:pt x="215646" y="505968"/>
                </a:lnTo>
                <a:lnTo>
                  <a:pt x="223044" y="506064"/>
                </a:lnTo>
                <a:lnTo>
                  <a:pt x="234802" y="502682"/>
                </a:lnTo>
                <a:close/>
              </a:path>
              <a:path w="646938" h="664222">
                <a:moveTo>
                  <a:pt x="292345" y="437718"/>
                </a:moveTo>
                <a:lnTo>
                  <a:pt x="304172" y="433659"/>
                </a:lnTo>
                <a:lnTo>
                  <a:pt x="314960" y="425513"/>
                </a:lnTo>
                <a:lnTo>
                  <a:pt x="320303" y="419291"/>
                </a:lnTo>
                <a:lnTo>
                  <a:pt x="326281" y="407943"/>
                </a:lnTo>
                <a:lnTo>
                  <a:pt x="328549" y="395503"/>
                </a:lnTo>
                <a:lnTo>
                  <a:pt x="328283" y="389540"/>
                </a:lnTo>
                <a:lnTo>
                  <a:pt x="324741" y="377352"/>
                </a:lnTo>
                <a:lnTo>
                  <a:pt x="317119" y="366839"/>
                </a:lnTo>
                <a:lnTo>
                  <a:pt x="311276" y="361022"/>
                </a:lnTo>
                <a:lnTo>
                  <a:pt x="304926" y="357644"/>
                </a:lnTo>
                <a:lnTo>
                  <a:pt x="298069" y="356717"/>
                </a:lnTo>
                <a:lnTo>
                  <a:pt x="291211" y="355790"/>
                </a:lnTo>
                <a:lnTo>
                  <a:pt x="284606" y="357390"/>
                </a:lnTo>
                <a:lnTo>
                  <a:pt x="278003" y="361492"/>
                </a:lnTo>
                <a:lnTo>
                  <a:pt x="280162" y="355498"/>
                </a:lnTo>
                <a:lnTo>
                  <a:pt x="280797" y="349859"/>
                </a:lnTo>
                <a:lnTo>
                  <a:pt x="279654" y="344563"/>
                </a:lnTo>
                <a:lnTo>
                  <a:pt x="278511" y="339267"/>
                </a:lnTo>
                <a:lnTo>
                  <a:pt x="275971" y="334670"/>
                </a:lnTo>
                <a:lnTo>
                  <a:pt x="272161" y="330771"/>
                </a:lnTo>
                <a:lnTo>
                  <a:pt x="267969" y="326669"/>
                </a:lnTo>
                <a:lnTo>
                  <a:pt x="263017" y="323888"/>
                </a:lnTo>
                <a:lnTo>
                  <a:pt x="257175" y="322427"/>
                </a:lnTo>
                <a:lnTo>
                  <a:pt x="251332" y="320967"/>
                </a:lnTo>
                <a:lnTo>
                  <a:pt x="245237" y="321259"/>
                </a:lnTo>
                <a:lnTo>
                  <a:pt x="239013" y="323291"/>
                </a:lnTo>
                <a:lnTo>
                  <a:pt x="232791" y="325323"/>
                </a:lnTo>
                <a:lnTo>
                  <a:pt x="227203" y="328803"/>
                </a:lnTo>
                <a:lnTo>
                  <a:pt x="222250" y="333717"/>
                </a:lnTo>
                <a:lnTo>
                  <a:pt x="213664" y="345714"/>
                </a:lnTo>
                <a:lnTo>
                  <a:pt x="210438" y="357759"/>
                </a:lnTo>
                <a:lnTo>
                  <a:pt x="210347" y="360338"/>
                </a:lnTo>
                <a:lnTo>
                  <a:pt x="212394" y="372336"/>
                </a:lnTo>
                <a:lnTo>
                  <a:pt x="218567" y="384263"/>
                </a:lnTo>
                <a:lnTo>
                  <a:pt x="231521" y="375158"/>
                </a:lnTo>
                <a:lnTo>
                  <a:pt x="226949" y="368922"/>
                </a:lnTo>
                <a:lnTo>
                  <a:pt x="224790" y="363004"/>
                </a:lnTo>
                <a:lnTo>
                  <a:pt x="225044" y="351840"/>
                </a:lnTo>
                <a:lnTo>
                  <a:pt x="227330" y="346900"/>
                </a:lnTo>
                <a:lnTo>
                  <a:pt x="231648" y="342595"/>
                </a:lnTo>
                <a:lnTo>
                  <a:pt x="235966" y="338239"/>
                </a:lnTo>
                <a:lnTo>
                  <a:pt x="240919" y="336016"/>
                </a:lnTo>
                <a:lnTo>
                  <a:pt x="251713" y="335864"/>
                </a:lnTo>
                <a:lnTo>
                  <a:pt x="256412" y="337845"/>
                </a:lnTo>
                <a:lnTo>
                  <a:pt x="260476" y="341909"/>
                </a:lnTo>
                <a:lnTo>
                  <a:pt x="265684" y="347040"/>
                </a:lnTo>
                <a:lnTo>
                  <a:pt x="267588" y="352729"/>
                </a:lnTo>
                <a:lnTo>
                  <a:pt x="266192" y="358965"/>
                </a:lnTo>
                <a:lnTo>
                  <a:pt x="264922" y="365201"/>
                </a:lnTo>
                <a:lnTo>
                  <a:pt x="261874" y="370687"/>
                </a:lnTo>
                <a:lnTo>
                  <a:pt x="257175" y="375399"/>
                </a:lnTo>
                <a:lnTo>
                  <a:pt x="255269" y="377063"/>
                </a:lnTo>
                <a:lnTo>
                  <a:pt x="263779" y="388023"/>
                </a:lnTo>
                <a:lnTo>
                  <a:pt x="266065" y="384086"/>
                </a:lnTo>
                <a:lnTo>
                  <a:pt x="268224" y="381063"/>
                </a:lnTo>
                <a:lnTo>
                  <a:pt x="270382" y="378968"/>
                </a:lnTo>
                <a:lnTo>
                  <a:pt x="275463" y="373837"/>
                </a:lnTo>
                <a:lnTo>
                  <a:pt x="281305" y="371271"/>
                </a:lnTo>
                <a:lnTo>
                  <a:pt x="294640" y="371221"/>
                </a:lnTo>
                <a:lnTo>
                  <a:pt x="300481" y="373761"/>
                </a:lnTo>
                <a:lnTo>
                  <a:pt x="305562" y="378853"/>
                </a:lnTo>
                <a:lnTo>
                  <a:pt x="310896" y="384187"/>
                </a:lnTo>
                <a:lnTo>
                  <a:pt x="313563" y="390461"/>
                </a:lnTo>
                <a:lnTo>
                  <a:pt x="313563" y="404863"/>
                </a:lnTo>
                <a:lnTo>
                  <a:pt x="311023" y="411073"/>
                </a:lnTo>
                <a:lnTo>
                  <a:pt x="305816" y="416280"/>
                </a:lnTo>
                <a:lnTo>
                  <a:pt x="301371" y="420674"/>
                </a:lnTo>
                <a:lnTo>
                  <a:pt x="296291" y="423011"/>
                </a:lnTo>
                <a:lnTo>
                  <a:pt x="290449" y="423303"/>
                </a:lnTo>
                <a:lnTo>
                  <a:pt x="284606" y="423583"/>
                </a:lnTo>
                <a:lnTo>
                  <a:pt x="278003" y="421220"/>
                </a:lnTo>
                <a:lnTo>
                  <a:pt x="270382" y="416217"/>
                </a:lnTo>
                <a:lnTo>
                  <a:pt x="260857" y="428777"/>
                </a:lnTo>
                <a:lnTo>
                  <a:pt x="264141" y="431250"/>
                </a:lnTo>
                <a:lnTo>
                  <a:pt x="275639" y="436771"/>
                </a:lnTo>
                <a:lnTo>
                  <a:pt x="288163" y="438162"/>
                </a:lnTo>
                <a:lnTo>
                  <a:pt x="292345" y="437718"/>
                </a:lnTo>
                <a:close/>
              </a:path>
              <a:path w="646938" h="664222">
                <a:moveTo>
                  <a:pt x="359791" y="380466"/>
                </a:moveTo>
                <a:lnTo>
                  <a:pt x="292607" y="260985"/>
                </a:lnTo>
                <a:lnTo>
                  <a:pt x="283718" y="269875"/>
                </a:lnTo>
                <a:lnTo>
                  <a:pt x="350900" y="389394"/>
                </a:lnTo>
                <a:lnTo>
                  <a:pt x="359791" y="380466"/>
                </a:lnTo>
                <a:close/>
              </a:path>
              <a:path w="646938" h="664222">
                <a:moveTo>
                  <a:pt x="448437" y="288798"/>
                </a:moveTo>
                <a:lnTo>
                  <a:pt x="437769" y="278130"/>
                </a:lnTo>
                <a:lnTo>
                  <a:pt x="393446" y="322427"/>
                </a:lnTo>
                <a:lnTo>
                  <a:pt x="392684" y="319189"/>
                </a:lnTo>
                <a:lnTo>
                  <a:pt x="392303" y="315633"/>
                </a:lnTo>
                <a:lnTo>
                  <a:pt x="392175" y="311746"/>
                </a:lnTo>
                <a:lnTo>
                  <a:pt x="392049" y="307873"/>
                </a:lnTo>
                <a:lnTo>
                  <a:pt x="392556" y="299847"/>
                </a:lnTo>
                <a:lnTo>
                  <a:pt x="393573" y="287528"/>
                </a:lnTo>
                <a:lnTo>
                  <a:pt x="394307" y="278046"/>
                </a:lnTo>
                <a:lnTo>
                  <a:pt x="394936" y="264686"/>
                </a:lnTo>
                <a:lnTo>
                  <a:pt x="394843" y="254635"/>
                </a:lnTo>
                <a:lnTo>
                  <a:pt x="394335" y="247396"/>
                </a:lnTo>
                <a:lnTo>
                  <a:pt x="393192" y="241173"/>
                </a:lnTo>
                <a:lnTo>
                  <a:pt x="391160" y="236220"/>
                </a:lnTo>
                <a:lnTo>
                  <a:pt x="389128" y="231267"/>
                </a:lnTo>
                <a:lnTo>
                  <a:pt x="386334" y="226949"/>
                </a:lnTo>
                <a:lnTo>
                  <a:pt x="382778" y="223393"/>
                </a:lnTo>
                <a:lnTo>
                  <a:pt x="380966" y="221687"/>
                </a:lnTo>
                <a:lnTo>
                  <a:pt x="369988" y="215076"/>
                </a:lnTo>
                <a:lnTo>
                  <a:pt x="357250" y="213106"/>
                </a:lnTo>
                <a:lnTo>
                  <a:pt x="352209" y="213616"/>
                </a:lnTo>
                <a:lnTo>
                  <a:pt x="340588" y="217881"/>
                </a:lnTo>
                <a:lnTo>
                  <a:pt x="329565" y="226440"/>
                </a:lnTo>
                <a:lnTo>
                  <a:pt x="325572" y="230805"/>
                </a:lnTo>
                <a:lnTo>
                  <a:pt x="318572" y="241975"/>
                </a:lnTo>
                <a:lnTo>
                  <a:pt x="315722" y="253619"/>
                </a:lnTo>
                <a:lnTo>
                  <a:pt x="315762" y="258477"/>
                </a:lnTo>
                <a:lnTo>
                  <a:pt x="318912" y="270210"/>
                </a:lnTo>
                <a:lnTo>
                  <a:pt x="326390" y="281813"/>
                </a:lnTo>
                <a:lnTo>
                  <a:pt x="338836" y="271653"/>
                </a:lnTo>
                <a:lnTo>
                  <a:pt x="333248" y="265938"/>
                </a:lnTo>
                <a:lnTo>
                  <a:pt x="330454" y="259842"/>
                </a:lnTo>
                <a:lnTo>
                  <a:pt x="330454" y="247015"/>
                </a:lnTo>
                <a:lnTo>
                  <a:pt x="333121" y="241173"/>
                </a:lnTo>
                <a:lnTo>
                  <a:pt x="338455" y="235839"/>
                </a:lnTo>
                <a:lnTo>
                  <a:pt x="343535" y="230886"/>
                </a:lnTo>
                <a:lnTo>
                  <a:pt x="349123" y="228219"/>
                </a:lnTo>
                <a:lnTo>
                  <a:pt x="355219" y="228092"/>
                </a:lnTo>
                <a:lnTo>
                  <a:pt x="361442" y="227965"/>
                </a:lnTo>
                <a:lnTo>
                  <a:pt x="366649" y="230124"/>
                </a:lnTo>
                <a:lnTo>
                  <a:pt x="371094" y="234569"/>
                </a:lnTo>
                <a:lnTo>
                  <a:pt x="375285" y="238760"/>
                </a:lnTo>
                <a:lnTo>
                  <a:pt x="377951" y="244856"/>
                </a:lnTo>
                <a:lnTo>
                  <a:pt x="379222" y="252984"/>
                </a:lnTo>
                <a:lnTo>
                  <a:pt x="379318" y="253635"/>
                </a:lnTo>
                <a:lnTo>
                  <a:pt x="379995" y="263357"/>
                </a:lnTo>
                <a:lnTo>
                  <a:pt x="379709" y="276154"/>
                </a:lnTo>
                <a:lnTo>
                  <a:pt x="378460" y="291973"/>
                </a:lnTo>
                <a:lnTo>
                  <a:pt x="378138" y="295432"/>
                </a:lnTo>
                <a:lnTo>
                  <a:pt x="377380" y="309095"/>
                </a:lnTo>
                <a:lnTo>
                  <a:pt x="377698" y="320179"/>
                </a:lnTo>
                <a:lnTo>
                  <a:pt x="378206" y="327469"/>
                </a:lnTo>
                <a:lnTo>
                  <a:pt x="379856" y="333908"/>
                </a:lnTo>
                <a:lnTo>
                  <a:pt x="382397" y="339483"/>
                </a:lnTo>
                <a:lnTo>
                  <a:pt x="383921" y="342887"/>
                </a:lnTo>
                <a:lnTo>
                  <a:pt x="385953" y="345884"/>
                </a:lnTo>
                <a:lnTo>
                  <a:pt x="388747" y="348475"/>
                </a:lnTo>
                <a:lnTo>
                  <a:pt x="448437" y="288798"/>
                </a:lnTo>
                <a:close/>
              </a:path>
              <a:path w="646938" h="664222">
                <a:moveTo>
                  <a:pt x="480533" y="256978"/>
                </a:moveTo>
                <a:lnTo>
                  <a:pt x="482092" y="240030"/>
                </a:lnTo>
                <a:lnTo>
                  <a:pt x="477012" y="245110"/>
                </a:lnTo>
                <a:lnTo>
                  <a:pt x="470281" y="246887"/>
                </a:lnTo>
                <a:lnTo>
                  <a:pt x="461899" y="245490"/>
                </a:lnTo>
                <a:lnTo>
                  <a:pt x="459198" y="244842"/>
                </a:lnTo>
                <a:lnTo>
                  <a:pt x="450235" y="240538"/>
                </a:lnTo>
                <a:lnTo>
                  <a:pt x="439542" y="232626"/>
                </a:lnTo>
                <a:lnTo>
                  <a:pt x="427100" y="221107"/>
                </a:lnTo>
                <a:lnTo>
                  <a:pt x="421591" y="215400"/>
                </a:lnTo>
                <a:lnTo>
                  <a:pt x="411850" y="203831"/>
                </a:lnTo>
                <a:lnTo>
                  <a:pt x="405431" y="193669"/>
                </a:lnTo>
                <a:lnTo>
                  <a:pt x="405750" y="221808"/>
                </a:lnTo>
                <a:lnTo>
                  <a:pt x="415671" y="232537"/>
                </a:lnTo>
                <a:lnTo>
                  <a:pt x="418188" y="234992"/>
                </a:lnTo>
                <a:lnTo>
                  <a:pt x="429892" y="245200"/>
                </a:lnTo>
                <a:lnTo>
                  <a:pt x="440994" y="252815"/>
                </a:lnTo>
                <a:lnTo>
                  <a:pt x="451493" y="257826"/>
                </a:lnTo>
                <a:lnTo>
                  <a:pt x="461391" y="260223"/>
                </a:lnTo>
                <a:lnTo>
                  <a:pt x="468757" y="260326"/>
                </a:lnTo>
                <a:lnTo>
                  <a:pt x="480533" y="256978"/>
                </a:lnTo>
                <a:close/>
              </a:path>
              <a:path w="646938" h="664222">
                <a:moveTo>
                  <a:pt x="491695" y="145339"/>
                </a:moveTo>
                <a:lnTo>
                  <a:pt x="481954" y="133820"/>
                </a:lnTo>
                <a:lnTo>
                  <a:pt x="475535" y="123643"/>
                </a:lnTo>
                <a:lnTo>
                  <a:pt x="472440" y="114808"/>
                </a:lnTo>
                <a:lnTo>
                  <a:pt x="475854" y="151734"/>
                </a:lnTo>
                <a:lnTo>
                  <a:pt x="485775" y="162433"/>
                </a:lnTo>
                <a:lnTo>
                  <a:pt x="488236" y="164869"/>
                </a:lnTo>
                <a:lnTo>
                  <a:pt x="499888" y="175156"/>
                </a:lnTo>
                <a:lnTo>
                  <a:pt x="491695" y="145339"/>
                </a:lnTo>
                <a:close/>
              </a:path>
              <a:path w="646938" h="664222">
                <a:moveTo>
                  <a:pt x="550583" y="186963"/>
                </a:moveTo>
                <a:lnTo>
                  <a:pt x="561213" y="179070"/>
                </a:lnTo>
                <a:lnTo>
                  <a:pt x="567817" y="172465"/>
                </a:lnTo>
                <a:lnTo>
                  <a:pt x="571500" y="165227"/>
                </a:lnTo>
                <a:lnTo>
                  <a:pt x="572262" y="157353"/>
                </a:lnTo>
                <a:lnTo>
                  <a:pt x="572309" y="156907"/>
                </a:lnTo>
                <a:lnTo>
                  <a:pt x="571544" y="145005"/>
                </a:lnTo>
                <a:lnTo>
                  <a:pt x="566928" y="132461"/>
                </a:lnTo>
                <a:lnTo>
                  <a:pt x="562143" y="124314"/>
                </a:lnTo>
                <a:lnTo>
                  <a:pt x="554528" y="114312"/>
                </a:lnTo>
                <a:lnTo>
                  <a:pt x="544576" y="103632"/>
                </a:lnTo>
                <a:lnTo>
                  <a:pt x="540344" y="99458"/>
                </a:lnTo>
                <a:lnTo>
                  <a:pt x="530213" y="90566"/>
                </a:lnTo>
                <a:lnTo>
                  <a:pt x="521207" y="84328"/>
                </a:lnTo>
                <a:lnTo>
                  <a:pt x="514604" y="80390"/>
                </a:lnTo>
                <a:lnTo>
                  <a:pt x="508254" y="77724"/>
                </a:lnTo>
                <a:lnTo>
                  <a:pt x="502285" y="76454"/>
                </a:lnTo>
                <a:lnTo>
                  <a:pt x="496188" y="75184"/>
                </a:lnTo>
                <a:lnTo>
                  <a:pt x="490347" y="75437"/>
                </a:lnTo>
                <a:lnTo>
                  <a:pt x="484759" y="77089"/>
                </a:lnTo>
                <a:lnTo>
                  <a:pt x="479171" y="78740"/>
                </a:lnTo>
                <a:lnTo>
                  <a:pt x="473963" y="82042"/>
                </a:lnTo>
                <a:lnTo>
                  <a:pt x="469011" y="86868"/>
                </a:lnTo>
                <a:lnTo>
                  <a:pt x="462534" y="93472"/>
                </a:lnTo>
                <a:lnTo>
                  <a:pt x="458850" y="100711"/>
                </a:lnTo>
                <a:lnTo>
                  <a:pt x="457962" y="108585"/>
                </a:lnTo>
                <a:lnTo>
                  <a:pt x="457936" y="108858"/>
                </a:lnTo>
                <a:lnTo>
                  <a:pt x="458755" y="120824"/>
                </a:lnTo>
                <a:lnTo>
                  <a:pt x="463296" y="133350"/>
                </a:lnTo>
                <a:lnTo>
                  <a:pt x="468208" y="141731"/>
                </a:lnTo>
                <a:lnTo>
                  <a:pt x="475854" y="151734"/>
                </a:lnTo>
                <a:lnTo>
                  <a:pt x="472440" y="114808"/>
                </a:lnTo>
                <a:lnTo>
                  <a:pt x="471169" y="107568"/>
                </a:lnTo>
                <a:lnTo>
                  <a:pt x="473075" y="101346"/>
                </a:lnTo>
                <a:lnTo>
                  <a:pt x="478155" y="96265"/>
                </a:lnTo>
                <a:lnTo>
                  <a:pt x="483235" y="91059"/>
                </a:lnTo>
                <a:lnTo>
                  <a:pt x="490093" y="89154"/>
                </a:lnTo>
                <a:lnTo>
                  <a:pt x="498348" y="90551"/>
                </a:lnTo>
                <a:lnTo>
                  <a:pt x="510105" y="95533"/>
                </a:lnTo>
                <a:lnTo>
                  <a:pt x="520832" y="103439"/>
                </a:lnTo>
                <a:lnTo>
                  <a:pt x="533273" y="114935"/>
                </a:lnTo>
                <a:lnTo>
                  <a:pt x="537566" y="119370"/>
                </a:lnTo>
                <a:lnTo>
                  <a:pt x="547807" y="131233"/>
                </a:lnTo>
                <a:lnTo>
                  <a:pt x="554468" y="141347"/>
                </a:lnTo>
                <a:lnTo>
                  <a:pt x="557530" y="149733"/>
                </a:lnTo>
                <a:lnTo>
                  <a:pt x="559054" y="158115"/>
                </a:lnTo>
                <a:lnTo>
                  <a:pt x="557149" y="164846"/>
                </a:lnTo>
                <a:lnTo>
                  <a:pt x="552069" y="169926"/>
                </a:lnTo>
                <a:lnTo>
                  <a:pt x="546988" y="175006"/>
                </a:lnTo>
                <a:lnTo>
                  <a:pt x="540257" y="176911"/>
                </a:lnTo>
                <a:lnTo>
                  <a:pt x="531876" y="175387"/>
                </a:lnTo>
                <a:lnTo>
                  <a:pt x="520268" y="170464"/>
                </a:lnTo>
                <a:lnTo>
                  <a:pt x="509591" y="162546"/>
                </a:lnTo>
                <a:lnTo>
                  <a:pt x="497205" y="151003"/>
                </a:lnTo>
                <a:lnTo>
                  <a:pt x="491695" y="145339"/>
                </a:lnTo>
                <a:lnTo>
                  <a:pt x="499888" y="175156"/>
                </a:lnTo>
                <a:lnTo>
                  <a:pt x="510967" y="182814"/>
                </a:lnTo>
                <a:lnTo>
                  <a:pt x="521464" y="187844"/>
                </a:lnTo>
                <a:lnTo>
                  <a:pt x="531368" y="190246"/>
                </a:lnTo>
                <a:lnTo>
                  <a:pt x="538789" y="190344"/>
                </a:lnTo>
                <a:lnTo>
                  <a:pt x="550583" y="186963"/>
                </a:lnTo>
                <a:close/>
              </a:path>
              <a:path w="646938" h="664222">
                <a:moveTo>
                  <a:pt x="614172" y="79756"/>
                </a:moveTo>
                <a:lnTo>
                  <a:pt x="635888" y="101346"/>
                </a:lnTo>
                <a:lnTo>
                  <a:pt x="646938" y="90297"/>
                </a:lnTo>
                <a:lnTo>
                  <a:pt x="625348" y="68707"/>
                </a:lnTo>
                <a:lnTo>
                  <a:pt x="637540" y="56515"/>
                </a:lnTo>
                <a:lnTo>
                  <a:pt x="627380" y="46355"/>
                </a:lnTo>
                <a:lnTo>
                  <a:pt x="615188" y="58546"/>
                </a:lnTo>
                <a:lnTo>
                  <a:pt x="604012" y="69596"/>
                </a:lnTo>
                <a:lnTo>
                  <a:pt x="575818" y="97917"/>
                </a:lnTo>
                <a:lnTo>
                  <a:pt x="564896" y="108839"/>
                </a:lnTo>
                <a:lnTo>
                  <a:pt x="575056" y="118999"/>
                </a:lnTo>
                <a:lnTo>
                  <a:pt x="614172" y="79756"/>
                </a:lnTo>
                <a:close/>
              </a:path>
              <a:path w="646938" h="664222">
                <a:moveTo>
                  <a:pt x="575818" y="97917"/>
                </a:moveTo>
                <a:lnTo>
                  <a:pt x="563372" y="28956"/>
                </a:lnTo>
                <a:lnTo>
                  <a:pt x="604012" y="69596"/>
                </a:lnTo>
                <a:lnTo>
                  <a:pt x="615188" y="58546"/>
                </a:lnTo>
                <a:lnTo>
                  <a:pt x="556641" y="0"/>
                </a:lnTo>
                <a:lnTo>
                  <a:pt x="547624" y="9143"/>
                </a:lnTo>
                <a:lnTo>
                  <a:pt x="564896" y="108839"/>
                </a:lnTo>
                <a:lnTo>
                  <a:pt x="575818" y="97917"/>
                </a:lnTo>
                <a:close/>
              </a:path>
              <a:path w="646938" h="664222">
                <a:moveTo>
                  <a:pt x="491236" y="249174"/>
                </a:moveTo>
                <a:lnTo>
                  <a:pt x="497840" y="242570"/>
                </a:lnTo>
                <a:lnTo>
                  <a:pt x="501523" y="235331"/>
                </a:lnTo>
                <a:lnTo>
                  <a:pt x="502285" y="227330"/>
                </a:lnTo>
                <a:lnTo>
                  <a:pt x="502310" y="227056"/>
                </a:lnTo>
                <a:lnTo>
                  <a:pt x="501491" y="215090"/>
                </a:lnTo>
                <a:lnTo>
                  <a:pt x="496950" y="202565"/>
                </a:lnTo>
                <a:lnTo>
                  <a:pt x="492105" y="194362"/>
                </a:lnTo>
                <a:lnTo>
                  <a:pt x="484470" y="184353"/>
                </a:lnTo>
                <a:lnTo>
                  <a:pt x="474599" y="173609"/>
                </a:lnTo>
                <a:lnTo>
                  <a:pt x="470316" y="169479"/>
                </a:lnTo>
                <a:lnTo>
                  <a:pt x="460143" y="160582"/>
                </a:lnTo>
                <a:lnTo>
                  <a:pt x="451231" y="154305"/>
                </a:lnTo>
                <a:lnTo>
                  <a:pt x="444626" y="150368"/>
                </a:lnTo>
                <a:lnTo>
                  <a:pt x="438276" y="147828"/>
                </a:lnTo>
                <a:lnTo>
                  <a:pt x="432181" y="146558"/>
                </a:lnTo>
                <a:lnTo>
                  <a:pt x="426085" y="145287"/>
                </a:lnTo>
                <a:lnTo>
                  <a:pt x="420243" y="145415"/>
                </a:lnTo>
                <a:lnTo>
                  <a:pt x="414655" y="147193"/>
                </a:lnTo>
                <a:lnTo>
                  <a:pt x="409067" y="148844"/>
                </a:lnTo>
                <a:lnTo>
                  <a:pt x="403860" y="152146"/>
                </a:lnTo>
                <a:lnTo>
                  <a:pt x="399034" y="156972"/>
                </a:lnTo>
                <a:lnTo>
                  <a:pt x="392430" y="163576"/>
                </a:lnTo>
                <a:lnTo>
                  <a:pt x="388747" y="170687"/>
                </a:lnTo>
                <a:lnTo>
                  <a:pt x="387985" y="178562"/>
                </a:lnTo>
                <a:lnTo>
                  <a:pt x="387952" y="178915"/>
                </a:lnTo>
                <a:lnTo>
                  <a:pt x="388722" y="190860"/>
                </a:lnTo>
                <a:lnTo>
                  <a:pt x="393192" y="203454"/>
                </a:lnTo>
                <a:lnTo>
                  <a:pt x="398104" y="211779"/>
                </a:lnTo>
                <a:lnTo>
                  <a:pt x="405750" y="221808"/>
                </a:lnTo>
                <a:lnTo>
                  <a:pt x="405431" y="193669"/>
                </a:lnTo>
                <a:lnTo>
                  <a:pt x="402336" y="184912"/>
                </a:lnTo>
                <a:lnTo>
                  <a:pt x="401066" y="177546"/>
                </a:lnTo>
                <a:lnTo>
                  <a:pt x="402971" y="171323"/>
                </a:lnTo>
                <a:lnTo>
                  <a:pt x="408050" y="166243"/>
                </a:lnTo>
                <a:lnTo>
                  <a:pt x="413257" y="161036"/>
                </a:lnTo>
                <a:lnTo>
                  <a:pt x="419988" y="159258"/>
                </a:lnTo>
                <a:lnTo>
                  <a:pt x="428371" y="160655"/>
                </a:lnTo>
                <a:lnTo>
                  <a:pt x="440034" y="165607"/>
                </a:lnTo>
                <a:lnTo>
                  <a:pt x="450727" y="173519"/>
                </a:lnTo>
                <a:lnTo>
                  <a:pt x="463169" y="185039"/>
                </a:lnTo>
                <a:lnTo>
                  <a:pt x="467524" y="189508"/>
                </a:lnTo>
                <a:lnTo>
                  <a:pt x="477740" y="201319"/>
                </a:lnTo>
                <a:lnTo>
                  <a:pt x="484416" y="211443"/>
                </a:lnTo>
                <a:lnTo>
                  <a:pt x="487553" y="219837"/>
                </a:lnTo>
                <a:lnTo>
                  <a:pt x="488950" y="228219"/>
                </a:lnTo>
                <a:lnTo>
                  <a:pt x="487172" y="234950"/>
                </a:lnTo>
                <a:lnTo>
                  <a:pt x="482092" y="240030"/>
                </a:lnTo>
                <a:lnTo>
                  <a:pt x="480533" y="256978"/>
                </a:lnTo>
                <a:lnTo>
                  <a:pt x="491236" y="2491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2" name="object 192"/>
          <p:cNvSpPr/>
          <p:nvPr/>
        </p:nvSpPr>
        <p:spPr>
          <a:xfrm>
            <a:off x="2401062" y="3952339"/>
            <a:ext cx="643636" cy="503278"/>
          </a:xfrm>
          <a:custGeom>
            <a:avLst/>
            <a:gdLst/>
            <a:ahLst/>
            <a:cxnLst/>
            <a:rect l="l" t="t" r="r" b="b"/>
            <a:pathLst>
              <a:path w="643636" h="671969">
                <a:moveTo>
                  <a:pt x="480588" y="264725"/>
                </a:moveTo>
                <a:lnTo>
                  <a:pt x="491236" y="256921"/>
                </a:lnTo>
                <a:lnTo>
                  <a:pt x="497839" y="250317"/>
                </a:lnTo>
                <a:lnTo>
                  <a:pt x="501523" y="243078"/>
                </a:lnTo>
                <a:lnTo>
                  <a:pt x="502412" y="235077"/>
                </a:lnTo>
                <a:lnTo>
                  <a:pt x="502437" y="234803"/>
                </a:lnTo>
                <a:lnTo>
                  <a:pt x="501618" y="222837"/>
                </a:lnTo>
                <a:lnTo>
                  <a:pt x="497077" y="210312"/>
                </a:lnTo>
                <a:lnTo>
                  <a:pt x="492201" y="202068"/>
                </a:lnTo>
                <a:lnTo>
                  <a:pt x="484543" y="192078"/>
                </a:lnTo>
                <a:lnTo>
                  <a:pt x="474599" y="181356"/>
                </a:lnTo>
                <a:lnTo>
                  <a:pt x="470367" y="177226"/>
                </a:lnTo>
                <a:lnTo>
                  <a:pt x="460236" y="168329"/>
                </a:lnTo>
                <a:lnTo>
                  <a:pt x="451231" y="162052"/>
                </a:lnTo>
                <a:lnTo>
                  <a:pt x="444626" y="158115"/>
                </a:lnTo>
                <a:lnTo>
                  <a:pt x="438276" y="155575"/>
                </a:lnTo>
                <a:lnTo>
                  <a:pt x="432307" y="154305"/>
                </a:lnTo>
                <a:lnTo>
                  <a:pt x="426212" y="153035"/>
                </a:lnTo>
                <a:lnTo>
                  <a:pt x="420369" y="153162"/>
                </a:lnTo>
                <a:lnTo>
                  <a:pt x="414781" y="154940"/>
                </a:lnTo>
                <a:lnTo>
                  <a:pt x="409194" y="156591"/>
                </a:lnTo>
                <a:lnTo>
                  <a:pt x="403987" y="159893"/>
                </a:lnTo>
                <a:lnTo>
                  <a:pt x="399161" y="164719"/>
                </a:lnTo>
                <a:lnTo>
                  <a:pt x="392556" y="171323"/>
                </a:lnTo>
                <a:lnTo>
                  <a:pt x="388874" y="178435"/>
                </a:lnTo>
                <a:lnTo>
                  <a:pt x="388112" y="186309"/>
                </a:lnTo>
                <a:lnTo>
                  <a:pt x="388067" y="186723"/>
                </a:lnTo>
                <a:lnTo>
                  <a:pt x="388809" y="198639"/>
                </a:lnTo>
                <a:lnTo>
                  <a:pt x="393319" y="211201"/>
                </a:lnTo>
                <a:lnTo>
                  <a:pt x="398231" y="219526"/>
                </a:lnTo>
                <a:lnTo>
                  <a:pt x="405877" y="229555"/>
                </a:lnTo>
                <a:lnTo>
                  <a:pt x="402463" y="192659"/>
                </a:lnTo>
                <a:lnTo>
                  <a:pt x="401193" y="185293"/>
                </a:lnTo>
                <a:lnTo>
                  <a:pt x="403098" y="179070"/>
                </a:lnTo>
                <a:lnTo>
                  <a:pt x="408177" y="173990"/>
                </a:lnTo>
                <a:lnTo>
                  <a:pt x="413385" y="168783"/>
                </a:lnTo>
                <a:lnTo>
                  <a:pt x="420115" y="167005"/>
                </a:lnTo>
                <a:lnTo>
                  <a:pt x="428498" y="168402"/>
                </a:lnTo>
                <a:lnTo>
                  <a:pt x="440106" y="173354"/>
                </a:lnTo>
                <a:lnTo>
                  <a:pt x="450830" y="181266"/>
                </a:lnTo>
                <a:lnTo>
                  <a:pt x="463295" y="192786"/>
                </a:lnTo>
                <a:lnTo>
                  <a:pt x="467589" y="197190"/>
                </a:lnTo>
                <a:lnTo>
                  <a:pt x="477830" y="209029"/>
                </a:lnTo>
                <a:lnTo>
                  <a:pt x="484491" y="219174"/>
                </a:lnTo>
                <a:lnTo>
                  <a:pt x="487552" y="227584"/>
                </a:lnTo>
                <a:lnTo>
                  <a:pt x="489076" y="235966"/>
                </a:lnTo>
                <a:lnTo>
                  <a:pt x="487299" y="242697"/>
                </a:lnTo>
                <a:lnTo>
                  <a:pt x="482219" y="247777"/>
                </a:lnTo>
                <a:lnTo>
                  <a:pt x="477138" y="252857"/>
                </a:lnTo>
                <a:lnTo>
                  <a:pt x="470407" y="254635"/>
                </a:lnTo>
                <a:lnTo>
                  <a:pt x="462025" y="253238"/>
                </a:lnTo>
                <a:lnTo>
                  <a:pt x="459321" y="252589"/>
                </a:lnTo>
                <a:lnTo>
                  <a:pt x="450325" y="248285"/>
                </a:lnTo>
                <a:lnTo>
                  <a:pt x="439613" y="240373"/>
                </a:lnTo>
                <a:lnTo>
                  <a:pt x="427227" y="228854"/>
                </a:lnTo>
                <a:lnTo>
                  <a:pt x="421718" y="223147"/>
                </a:lnTo>
                <a:lnTo>
                  <a:pt x="429869" y="252893"/>
                </a:lnTo>
                <a:lnTo>
                  <a:pt x="440964" y="260536"/>
                </a:lnTo>
                <a:lnTo>
                  <a:pt x="451474" y="265565"/>
                </a:lnTo>
                <a:lnTo>
                  <a:pt x="461390" y="267970"/>
                </a:lnTo>
                <a:lnTo>
                  <a:pt x="468772" y="268073"/>
                </a:lnTo>
                <a:lnTo>
                  <a:pt x="480588" y="264725"/>
                </a:lnTo>
                <a:close/>
              </a:path>
              <a:path w="643636" h="671969">
                <a:moveTo>
                  <a:pt x="491738" y="153086"/>
                </a:moveTo>
                <a:lnTo>
                  <a:pt x="482046" y="141567"/>
                </a:lnTo>
                <a:lnTo>
                  <a:pt x="475614" y="131390"/>
                </a:lnTo>
                <a:lnTo>
                  <a:pt x="472439" y="122555"/>
                </a:lnTo>
                <a:lnTo>
                  <a:pt x="475981" y="159481"/>
                </a:lnTo>
                <a:lnTo>
                  <a:pt x="485901" y="170180"/>
                </a:lnTo>
                <a:lnTo>
                  <a:pt x="488363" y="172616"/>
                </a:lnTo>
                <a:lnTo>
                  <a:pt x="500015" y="182903"/>
                </a:lnTo>
                <a:lnTo>
                  <a:pt x="491738" y="153086"/>
                </a:lnTo>
                <a:close/>
              </a:path>
              <a:path w="643636" h="671969">
                <a:moveTo>
                  <a:pt x="550655" y="194710"/>
                </a:moveTo>
                <a:lnTo>
                  <a:pt x="561339" y="186817"/>
                </a:lnTo>
                <a:lnTo>
                  <a:pt x="567944" y="180213"/>
                </a:lnTo>
                <a:lnTo>
                  <a:pt x="571626" y="172974"/>
                </a:lnTo>
                <a:lnTo>
                  <a:pt x="572388" y="165100"/>
                </a:lnTo>
                <a:lnTo>
                  <a:pt x="572424" y="164715"/>
                </a:lnTo>
                <a:lnTo>
                  <a:pt x="571583" y="152785"/>
                </a:lnTo>
                <a:lnTo>
                  <a:pt x="567055" y="140208"/>
                </a:lnTo>
                <a:lnTo>
                  <a:pt x="562245" y="132061"/>
                </a:lnTo>
                <a:lnTo>
                  <a:pt x="554598" y="122059"/>
                </a:lnTo>
                <a:lnTo>
                  <a:pt x="544702" y="111379"/>
                </a:lnTo>
                <a:lnTo>
                  <a:pt x="540463" y="107205"/>
                </a:lnTo>
                <a:lnTo>
                  <a:pt x="530286" y="98313"/>
                </a:lnTo>
                <a:lnTo>
                  <a:pt x="521335" y="92075"/>
                </a:lnTo>
                <a:lnTo>
                  <a:pt x="514731" y="88138"/>
                </a:lnTo>
                <a:lnTo>
                  <a:pt x="508381" y="85471"/>
                </a:lnTo>
                <a:lnTo>
                  <a:pt x="502285" y="84201"/>
                </a:lnTo>
                <a:lnTo>
                  <a:pt x="496315" y="82931"/>
                </a:lnTo>
                <a:lnTo>
                  <a:pt x="490474" y="83185"/>
                </a:lnTo>
                <a:lnTo>
                  <a:pt x="484886" y="84836"/>
                </a:lnTo>
                <a:lnTo>
                  <a:pt x="479170" y="86487"/>
                </a:lnTo>
                <a:lnTo>
                  <a:pt x="473963" y="89789"/>
                </a:lnTo>
                <a:lnTo>
                  <a:pt x="469138" y="94615"/>
                </a:lnTo>
                <a:lnTo>
                  <a:pt x="462533" y="101219"/>
                </a:lnTo>
                <a:lnTo>
                  <a:pt x="458850" y="108458"/>
                </a:lnTo>
                <a:lnTo>
                  <a:pt x="458088" y="116332"/>
                </a:lnTo>
                <a:lnTo>
                  <a:pt x="458063" y="116605"/>
                </a:lnTo>
                <a:lnTo>
                  <a:pt x="458882" y="128571"/>
                </a:lnTo>
                <a:lnTo>
                  <a:pt x="463423" y="141097"/>
                </a:lnTo>
                <a:lnTo>
                  <a:pt x="468335" y="149478"/>
                </a:lnTo>
                <a:lnTo>
                  <a:pt x="475981" y="159481"/>
                </a:lnTo>
                <a:lnTo>
                  <a:pt x="472439" y="122555"/>
                </a:lnTo>
                <a:lnTo>
                  <a:pt x="471169" y="115316"/>
                </a:lnTo>
                <a:lnTo>
                  <a:pt x="473075" y="109093"/>
                </a:lnTo>
                <a:lnTo>
                  <a:pt x="478155" y="104013"/>
                </a:lnTo>
                <a:lnTo>
                  <a:pt x="483362" y="98806"/>
                </a:lnTo>
                <a:lnTo>
                  <a:pt x="490093" y="96901"/>
                </a:lnTo>
                <a:lnTo>
                  <a:pt x="498475" y="98298"/>
                </a:lnTo>
                <a:lnTo>
                  <a:pt x="510138" y="103250"/>
                </a:lnTo>
                <a:lnTo>
                  <a:pt x="520831" y="111162"/>
                </a:lnTo>
                <a:lnTo>
                  <a:pt x="533273" y="122682"/>
                </a:lnTo>
                <a:lnTo>
                  <a:pt x="537663" y="127182"/>
                </a:lnTo>
                <a:lnTo>
                  <a:pt x="547936" y="139017"/>
                </a:lnTo>
                <a:lnTo>
                  <a:pt x="554600" y="149109"/>
                </a:lnTo>
                <a:lnTo>
                  <a:pt x="557657" y="157480"/>
                </a:lnTo>
                <a:lnTo>
                  <a:pt x="559181" y="165862"/>
                </a:lnTo>
                <a:lnTo>
                  <a:pt x="557276" y="172593"/>
                </a:lnTo>
                <a:lnTo>
                  <a:pt x="552195" y="177673"/>
                </a:lnTo>
                <a:lnTo>
                  <a:pt x="547115" y="182753"/>
                </a:lnTo>
                <a:lnTo>
                  <a:pt x="540385" y="184658"/>
                </a:lnTo>
                <a:lnTo>
                  <a:pt x="532002" y="183134"/>
                </a:lnTo>
                <a:lnTo>
                  <a:pt x="520339" y="178181"/>
                </a:lnTo>
                <a:lnTo>
                  <a:pt x="509646" y="170269"/>
                </a:lnTo>
                <a:lnTo>
                  <a:pt x="497205" y="158750"/>
                </a:lnTo>
                <a:lnTo>
                  <a:pt x="491738" y="153086"/>
                </a:lnTo>
                <a:lnTo>
                  <a:pt x="500015" y="182903"/>
                </a:lnTo>
                <a:lnTo>
                  <a:pt x="511094" y="190561"/>
                </a:lnTo>
                <a:lnTo>
                  <a:pt x="521591" y="195591"/>
                </a:lnTo>
                <a:lnTo>
                  <a:pt x="531494" y="197993"/>
                </a:lnTo>
                <a:lnTo>
                  <a:pt x="538901" y="198091"/>
                </a:lnTo>
                <a:lnTo>
                  <a:pt x="550655" y="194710"/>
                </a:lnTo>
                <a:close/>
              </a:path>
              <a:path w="643636" h="671969">
                <a:moveTo>
                  <a:pt x="608455" y="129860"/>
                </a:moveTo>
                <a:lnTo>
                  <a:pt x="620120" y="125585"/>
                </a:lnTo>
                <a:lnTo>
                  <a:pt x="630936" y="117221"/>
                </a:lnTo>
                <a:lnTo>
                  <a:pt x="639019" y="106691"/>
                </a:lnTo>
                <a:lnTo>
                  <a:pt x="643249" y="95129"/>
                </a:lnTo>
                <a:lnTo>
                  <a:pt x="643636" y="82550"/>
                </a:lnTo>
                <a:lnTo>
                  <a:pt x="642557" y="76420"/>
                </a:lnTo>
                <a:lnTo>
                  <a:pt x="637800" y="64696"/>
                </a:lnTo>
                <a:lnTo>
                  <a:pt x="629665" y="54229"/>
                </a:lnTo>
                <a:lnTo>
                  <a:pt x="624221" y="49473"/>
                </a:lnTo>
                <a:lnTo>
                  <a:pt x="612892" y="43376"/>
                </a:lnTo>
                <a:lnTo>
                  <a:pt x="600456" y="41275"/>
                </a:lnTo>
                <a:lnTo>
                  <a:pt x="595156" y="41599"/>
                </a:lnTo>
                <a:lnTo>
                  <a:pt x="582988" y="45288"/>
                </a:lnTo>
                <a:lnTo>
                  <a:pt x="572388" y="53086"/>
                </a:lnTo>
                <a:lnTo>
                  <a:pt x="565044" y="63234"/>
                </a:lnTo>
                <a:lnTo>
                  <a:pt x="560958" y="75819"/>
                </a:lnTo>
                <a:lnTo>
                  <a:pt x="541527" y="46609"/>
                </a:lnTo>
                <a:lnTo>
                  <a:pt x="577595" y="10668"/>
                </a:lnTo>
                <a:lnTo>
                  <a:pt x="566927" y="0"/>
                </a:lnTo>
                <a:lnTo>
                  <a:pt x="522096" y="44958"/>
                </a:lnTo>
                <a:lnTo>
                  <a:pt x="559688" y="100076"/>
                </a:lnTo>
                <a:lnTo>
                  <a:pt x="571500" y="90932"/>
                </a:lnTo>
                <a:lnTo>
                  <a:pt x="570483" y="86741"/>
                </a:lnTo>
                <a:lnTo>
                  <a:pt x="570738" y="82423"/>
                </a:lnTo>
                <a:lnTo>
                  <a:pt x="571881" y="77851"/>
                </a:lnTo>
                <a:lnTo>
                  <a:pt x="573151" y="73406"/>
                </a:lnTo>
                <a:lnTo>
                  <a:pt x="575563" y="69342"/>
                </a:lnTo>
                <a:lnTo>
                  <a:pt x="579119" y="65786"/>
                </a:lnTo>
                <a:lnTo>
                  <a:pt x="584962" y="60071"/>
                </a:lnTo>
                <a:lnTo>
                  <a:pt x="591438" y="57277"/>
                </a:lnTo>
                <a:lnTo>
                  <a:pt x="598551" y="57277"/>
                </a:lnTo>
                <a:lnTo>
                  <a:pt x="605789" y="57404"/>
                </a:lnTo>
                <a:lnTo>
                  <a:pt x="612520" y="60706"/>
                </a:lnTo>
                <a:lnTo>
                  <a:pt x="618870" y="66929"/>
                </a:lnTo>
                <a:lnTo>
                  <a:pt x="625475" y="73660"/>
                </a:lnTo>
                <a:lnTo>
                  <a:pt x="629031" y="80772"/>
                </a:lnTo>
                <a:lnTo>
                  <a:pt x="629285" y="88519"/>
                </a:lnTo>
                <a:lnTo>
                  <a:pt x="629665" y="96266"/>
                </a:lnTo>
                <a:lnTo>
                  <a:pt x="627126" y="102743"/>
                </a:lnTo>
                <a:lnTo>
                  <a:pt x="621792" y="108077"/>
                </a:lnTo>
                <a:lnTo>
                  <a:pt x="617346" y="112522"/>
                </a:lnTo>
                <a:lnTo>
                  <a:pt x="612139" y="114935"/>
                </a:lnTo>
                <a:lnTo>
                  <a:pt x="606170" y="115189"/>
                </a:lnTo>
                <a:lnTo>
                  <a:pt x="600201" y="115443"/>
                </a:lnTo>
                <a:lnTo>
                  <a:pt x="593979" y="113157"/>
                </a:lnTo>
                <a:lnTo>
                  <a:pt x="587375" y="108458"/>
                </a:lnTo>
                <a:lnTo>
                  <a:pt x="576707" y="121031"/>
                </a:lnTo>
                <a:lnTo>
                  <a:pt x="580009" y="123519"/>
                </a:lnTo>
                <a:lnTo>
                  <a:pt x="591546" y="129105"/>
                </a:lnTo>
                <a:lnTo>
                  <a:pt x="603885" y="130429"/>
                </a:lnTo>
                <a:lnTo>
                  <a:pt x="608455" y="129860"/>
                </a:lnTo>
                <a:close/>
              </a:path>
              <a:path w="643636" h="671969">
                <a:moveTo>
                  <a:pt x="245618" y="502564"/>
                </a:moveTo>
                <a:lnTo>
                  <a:pt x="252221" y="495960"/>
                </a:lnTo>
                <a:lnTo>
                  <a:pt x="255905" y="488721"/>
                </a:lnTo>
                <a:lnTo>
                  <a:pt x="256667" y="480834"/>
                </a:lnTo>
                <a:lnTo>
                  <a:pt x="256698" y="480494"/>
                </a:lnTo>
                <a:lnTo>
                  <a:pt x="255866" y="468540"/>
                </a:lnTo>
                <a:lnTo>
                  <a:pt x="251332" y="455993"/>
                </a:lnTo>
                <a:lnTo>
                  <a:pt x="246502" y="447791"/>
                </a:lnTo>
                <a:lnTo>
                  <a:pt x="238862" y="437786"/>
                </a:lnTo>
                <a:lnTo>
                  <a:pt x="228981" y="427088"/>
                </a:lnTo>
                <a:lnTo>
                  <a:pt x="224704" y="422945"/>
                </a:lnTo>
                <a:lnTo>
                  <a:pt x="214528" y="414045"/>
                </a:lnTo>
                <a:lnTo>
                  <a:pt x="205612" y="407797"/>
                </a:lnTo>
                <a:lnTo>
                  <a:pt x="199008" y="403872"/>
                </a:lnTo>
                <a:lnTo>
                  <a:pt x="192658" y="401269"/>
                </a:lnTo>
                <a:lnTo>
                  <a:pt x="186562" y="399973"/>
                </a:lnTo>
                <a:lnTo>
                  <a:pt x="180467" y="398678"/>
                </a:lnTo>
                <a:lnTo>
                  <a:pt x="174625" y="398881"/>
                </a:lnTo>
                <a:lnTo>
                  <a:pt x="169037" y="400583"/>
                </a:lnTo>
                <a:lnTo>
                  <a:pt x="163449" y="402297"/>
                </a:lnTo>
                <a:lnTo>
                  <a:pt x="158242" y="405561"/>
                </a:lnTo>
                <a:lnTo>
                  <a:pt x="153415" y="410413"/>
                </a:lnTo>
                <a:lnTo>
                  <a:pt x="146812" y="416979"/>
                </a:lnTo>
                <a:lnTo>
                  <a:pt x="143129" y="424192"/>
                </a:lnTo>
                <a:lnTo>
                  <a:pt x="142367" y="432054"/>
                </a:lnTo>
                <a:lnTo>
                  <a:pt x="142338" y="432362"/>
                </a:lnTo>
                <a:lnTo>
                  <a:pt x="143147" y="444313"/>
                </a:lnTo>
                <a:lnTo>
                  <a:pt x="147574" y="456895"/>
                </a:lnTo>
                <a:lnTo>
                  <a:pt x="152478" y="465229"/>
                </a:lnTo>
                <a:lnTo>
                  <a:pt x="160127" y="475234"/>
                </a:lnTo>
                <a:lnTo>
                  <a:pt x="159812" y="447139"/>
                </a:lnTo>
                <a:lnTo>
                  <a:pt x="156718" y="438353"/>
                </a:lnTo>
                <a:lnTo>
                  <a:pt x="155448" y="431012"/>
                </a:lnTo>
                <a:lnTo>
                  <a:pt x="157352" y="424789"/>
                </a:lnTo>
                <a:lnTo>
                  <a:pt x="162432" y="419709"/>
                </a:lnTo>
                <a:lnTo>
                  <a:pt x="167639" y="414528"/>
                </a:lnTo>
                <a:lnTo>
                  <a:pt x="174370" y="412661"/>
                </a:lnTo>
                <a:lnTo>
                  <a:pt x="182752" y="414070"/>
                </a:lnTo>
                <a:lnTo>
                  <a:pt x="194423" y="419047"/>
                </a:lnTo>
                <a:lnTo>
                  <a:pt x="205113" y="426963"/>
                </a:lnTo>
                <a:lnTo>
                  <a:pt x="217550" y="438480"/>
                </a:lnTo>
                <a:lnTo>
                  <a:pt x="221880" y="442932"/>
                </a:lnTo>
                <a:lnTo>
                  <a:pt x="232110" y="454749"/>
                </a:lnTo>
                <a:lnTo>
                  <a:pt x="238795" y="464851"/>
                </a:lnTo>
                <a:lnTo>
                  <a:pt x="241935" y="473240"/>
                </a:lnTo>
                <a:lnTo>
                  <a:pt x="243331" y="481622"/>
                </a:lnTo>
                <a:lnTo>
                  <a:pt x="241554" y="488365"/>
                </a:lnTo>
                <a:lnTo>
                  <a:pt x="236474" y="493458"/>
                </a:lnTo>
                <a:lnTo>
                  <a:pt x="234929" y="510429"/>
                </a:lnTo>
                <a:lnTo>
                  <a:pt x="245618" y="502564"/>
                </a:lnTo>
                <a:close/>
              </a:path>
              <a:path w="643636" h="671969">
                <a:moveTo>
                  <a:pt x="132714" y="612305"/>
                </a:moveTo>
                <a:lnTo>
                  <a:pt x="122046" y="601662"/>
                </a:lnTo>
                <a:lnTo>
                  <a:pt x="77850" y="645922"/>
                </a:lnTo>
                <a:lnTo>
                  <a:pt x="77088" y="642683"/>
                </a:lnTo>
                <a:lnTo>
                  <a:pt x="76581" y="639127"/>
                </a:lnTo>
                <a:lnTo>
                  <a:pt x="76454" y="631367"/>
                </a:lnTo>
                <a:lnTo>
                  <a:pt x="76962" y="623316"/>
                </a:lnTo>
                <a:lnTo>
                  <a:pt x="77977" y="611085"/>
                </a:lnTo>
                <a:lnTo>
                  <a:pt x="78716" y="601485"/>
                </a:lnTo>
                <a:lnTo>
                  <a:pt x="79312" y="588156"/>
                </a:lnTo>
                <a:lnTo>
                  <a:pt x="79120" y="578116"/>
                </a:lnTo>
                <a:lnTo>
                  <a:pt x="78739" y="570826"/>
                </a:lnTo>
                <a:lnTo>
                  <a:pt x="77469" y="564705"/>
                </a:lnTo>
                <a:lnTo>
                  <a:pt x="75564" y="559739"/>
                </a:lnTo>
                <a:lnTo>
                  <a:pt x="73532" y="554774"/>
                </a:lnTo>
                <a:lnTo>
                  <a:pt x="70738" y="550481"/>
                </a:lnTo>
                <a:lnTo>
                  <a:pt x="67056" y="546874"/>
                </a:lnTo>
                <a:lnTo>
                  <a:pt x="54340" y="538583"/>
                </a:lnTo>
                <a:lnTo>
                  <a:pt x="41656" y="536587"/>
                </a:lnTo>
                <a:lnTo>
                  <a:pt x="36461" y="537111"/>
                </a:lnTo>
                <a:lnTo>
                  <a:pt x="24829" y="541390"/>
                </a:lnTo>
                <a:lnTo>
                  <a:pt x="13843" y="549948"/>
                </a:lnTo>
                <a:lnTo>
                  <a:pt x="9895" y="554290"/>
                </a:lnTo>
                <a:lnTo>
                  <a:pt x="2888" y="565458"/>
                </a:lnTo>
                <a:lnTo>
                  <a:pt x="0" y="577126"/>
                </a:lnTo>
                <a:lnTo>
                  <a:pt x="42" y="582017"/>
                </a:lnTo>
                <a:lnTo>
                  <a:pt x="3197" y="593753"/>
                </a:lnTo>
                <a:lnTo>
                  <a:pt x="10668" y="605358"/>
                </a:lnTo>
                <a:lnTo>
                  <a:pt x="23240" y="595134"/>
                </a:lnTo>
                <a:lnTo>
                  <a:pt x="17652" y="589432"/>
                </a:lnTo>
                <a:lnTo>
                  <a:pt x="14858" y="583374"/>
                </a:lnTo>
                <a:lnTo>
                  <a:pt x="14858" y="570572"/>
                </a:lnTo>
                <a:lnTo>
                  <a:pt x="17525" y="564705"/>
                </a:lnTo>
                <a:lnTo>
                  <a:pt x="22860" y="559371"/>
                </a:lnTo>
                <a:lnTo>
                  <a:pt x="27812" y="554316"/>
                </a:lnTo>
                <a:lnTo>
                  <a:pt x="33400" y="551726"/>
                </a:lnTo>
                <a:lnTo>
                  <a:pt x="45719" y="551484"/>
                </a:lnTo>
                <a:lnTo>
                  <a:pt x="51054" y="553618"/>
                </a:lnTo>
                <a:lnTo>
                  <a:pt x="55499" y="558012"/>
                </a:lnTo>
                <a:lnTo>
                  <a:pt x="59562" y="562203"/>
                </a:lnTo>
                <a:lnTo>
                  <a:pt x="62356" y="568363"/>
                </a:lnTo>
                <a:lnTo>
                  <a:pt x="63626" y="576516"/>
                </a:lnTo>
                <a:lnTo>
                  <a:pt x="64401" y="586888"/>
                </a:lnTo>
                <a:lnTo>
                  <a:pt x="64114" y="599669"/>
                </a:lnTo>
                <a:lnTo>
                  <a:pt x="62864" y="615518"/>
                </a:lnTo>
                <a:lnTo>
                  <a:pt x="62543" y="618917"/>
                </a:lnTo>
                <a:lnTo>
                  <a:pt x="61712" y="632572"/>
                </a:lnTo>
                <a:lnTo>
                  <a:pt x="61975" y="643674"/>
                </a:lnTo>
                <a:lnTo>
                  <a:pt x="62611" y="650963"/>
                </a:lnTo>
                <a:lnTo>
                  <a:pt x="64135" y="657402"/>
                </a:lnTo>
                <a:lnTo>
                  <a:pt x="66675" y="662978"/>
                </a:lnTo>
                <a:lnTo>
                  <a:pt x="68199" y="666381"/>
                </a:lnTo>
                <a:lnTo>
                  <a:pt x="70357" y="669378"/>
                </a:lnTo>
                <a:lnTo>
                  <a:pt x="73151" y="671969"/>
                </a:lnTo>
                <a:lnTo>
                  <a:pt x="132714" y="612305"/>
                </a:lnTo>
                <a:close/>
              </a:path>
              <a:path w="643636" h="671969">
                <a:moveTo>
                  <a:pt x="105996" y="538911"/>
                </a:moveTo>
                <a:lnTo>
                  <a:pt x="96255" y="527359"/>
                </a:lnTo>
                <a:lnTo>
                  <a:pt x="89836" y="517189"/>
                </a:lnTo>
                <a:lnTo>
                  <a:pt x="86740" y="508406"/>
                </a:lnTo>
                <a:lnTo>
                  <a:pt x="90150" y="545280"/>
                </a:lnTo>
                <a:lnTo>
                  <a:pt x="100075" y="555993"/>
                </a:lnTo>
                <a:lnTo>
                  <a:pt x="102513" y="558397"/>
                </a:lnTo>
                <a:lnTo>
                  <a:pt x="114172" y="568658"/>
                </a:lnTo>
                <a:lnTo>
                  <a:pt x="105996" y="538911"/>
                </a:lnTo>
                <a:close/>
              </a:path>
              <a:path w="643636" h="671969">
                <a:moveTo>
                  <a:pt x="164879" y="580473"/>
                </a:moveTo>
                <a:lnTo>
                  <a:pt x="175513" y="572617"/>
                </a:lnTo>
                <a:lnTo>
                  <a:pt x="182118" y="566013"/>
                </a:lnTo>
                <a:lnTo>
                  <a:pt x="185800" y="558761"/>
                </a:lnTo>
                <a:lnTo>
                  <a:pt x="186562" y="550887"/>
                </a:lnTo>
                <a:lnTo>
                  <a:pt x="186606" y="550485"/>
                </a:lnTo>
                <a:lnTo>
                  <a:pt x="185850" y="538551"/>
                </a:lnTo>
                <a:lnTo>
                  <a:pt x="181229" y="526046"/>
                </a:lnTo>
                <a:lnTo>
                  <a:pt x="176422" y="517839"/>
                </a:lnTo>
                <a:lnTo>
                  <a:pt x="168814" y="507836"/>
                </a:lnTo>
                <a:lnTo>
                  <a:pt x="158876" y="497141"/>
                </a:lnTo>
                <a:lnTo>
                  <a:pt x="154637" y="492989"/>
                </a:lnTo>
                <a:lnTo>
                  <a:pt x="144460" y="484089"/>
                </a:lnTo>
                <a:lnTo>
                  <a:pt x="135508" y="477837"/>
                </a:lnTo>
                <a:lnTo>
                  <a:pt x="128905" y="473913"/>
                </a:lnTo>
                <a:lnTo>
                  <a:pt x="122555" y="471309"/>
                </a:lnTo>
                <a:lnTo>
                  <a:pt x="116586" y="470014"/>
                </a:lnTo>
                <a:lnTo>
                  <a:pt x="110489" y="468731"/>
                </a:lnTo>
                <a:lnTo>
                  <a:pt x="104648" y="468934"/>
                </a:lnTo>
                <a:lnTo>
                  <a:pt x="99060" y="470636"/>
                </a:lnTo>
                <a:lnTo>
                  <a:pt x="93471" y="472338"/>
                </a:lnTo>
                <a:lnTo>
                  <a:pt x="88264" y="475615"/>
                </a:lnTo>
                <a:lnTo>
                  <a:pt x="83312" y="480453"/>
                </a:lnTo>
                <a:lnTo>
                  <a:pt x="76835" y="487019"/>
                </a:lnTo>
                <a:lnTo>
                  <a:pt x="73151" y="494233"/>
                </a:lnTo>
                <a:lnTo>
                  <a:pt x="72262" y="502094"/>
                </a:lnTo>
                <a:lnTo>
                  <a:pt x="72231" y="502433"/>
                </a:lnTo>
                <a:lnTo>
                  <a:pt x="73063" y="514379"/>
                </a:lnTo>
                <a:lnTo>
                  <a:pt x="77596" y="526935"/>
                </a:lnTo>
                <a:lnTo>
                  <a:pt x="82501" y="535272"/>
                </a:lnTo>
                <a:lnTo>
                  <a:pt x="90150" y="545280"/>
                </a:lnTo>
                <a:lnTo>
                  <a:pt x="86740" y="508406"/>
                </a:lnTo>
                <a:lnTo>
                  <a:pt x="85470" y="501053"/>
                </a:lnTo>
                <a:lnTo>
                  <a:pt x="87375" y="494842"/>
                </a:lnTo>
                <a:lnTo>
                  <a:pt x="92456" y="489750"/>
                </a:lnTo>
                <a:lnTo>
                  <a:pt x="97536" y="484581"/>
                </a:lnTo>
                <a:lnTo>
                  <a:pt x="104393" y="482701"/>
                </a:lnTo>
                <a:lnTo>
                  <a:pt x="112649" y="484124"/>
                </a:lnTo>
                <a:lnTo>
                  <a:pt x="115421" y="484797"/>
                </a:lnTo>
                <a:lnTo>
                  <a:pt x="124412" y="489125"/>
                </a:lnTo>
                <a:lnTo>
                  <a:pt x="135137" y="497037"/>
                </a:lnTo>
                <a:lnTo>
                  <a:pt x="147574" y="508533"/>
                </a:lnTo>
                <a:lnTo>
                  <a:pt x="151832" y="512907"/>
                </a:lnTo>
                <a:lnTo>
                  <a:pt x="162091" y="524749"/>
                </a:lnTo>
                <a:lnTo>
                  <a:pt x="168764" y="534874"/>
                </a:lnTo>
                <a:lnTo>
                  <a:pt x="171831" y="543280"/>
                </a:lnTo>
                <a:lnTo>
                  <a:pt x="173355" y="551675"/>
                </a:lnTo>
                <a:lnTo>
                  <a:pt x="171450" y="558419"/>
                </a:lnTo>
                <a:lnTo>
                  <a:pt x="166369" y="563499"/>
                </a:lnTo>
                <a:lnTo>
                  <a:pt x="161289" y="568591"/>
                </a:lnTo>
                <a:lnTo>
                  <a:pt x="154558" y="570420"/>
                </a:lnTo>
                <a:lnTo>
                  <a:pt x="146176" y="568985"/>
                </a:lnTo>
                <a:lnTo>
                  <a:pt x="143536" y="568344"/>
                </a:lnTo>
                <a:lnTo>
                  <a:pt x="134569" y="564035"/>
                </a:lnTo>
                <a:lnTo>
                  <a:pt x="123892" y="556120"/>
                </a:lnTo>
                <a:lnTo>
                  <a:pt x="111506" y="544601"/>
                </a:lnTo>
                <a:lnTo>
                  <a:pt x="105996" y="538911"/>
                </a:lnTo>
                <a:lnTo>
                  <a:pt x="114172" y="568658"/>
                </a:lnTo>
                <a:lnTo>
                  <a:pt x="125258" y="576303"/>
                </a:lnTo>
                <a:lnTo>
                  <a:pt x="135760" y="581335"/>
                </a:lnTo>
                <a:lnTo>
                  <a:pt x="145669" y="583755"/>
                </a:lnTo>
                <a:lnTo>
                  <a:pt x="153078" y="583852"/>
                </a:lnTo>
                <a:lnTo>
                  <a:pt x="164879" y="580473"/>
                </a:lnTo>
                <a:close/>
              </a:path>
              <a:path w="643636" h="671969">
                <a:moveTo>
                  <a:pt x="234929" y="510429"/>
                </a:moveTo>
                <a:lnTo>
                  <a:pt x="236474" y="493458"/>
                </a:lnTo>
                <a:lnTo>
                  <a:pt x="231394" y="498551"/>
                </a:lnTo>
                <a:lnTo>
                  <a:pt x="224662" y="500380"/>
                </a:lnTo>
                <a:lnTo>
                  <a:pt x="216281" y="498932"/>
                </a:lnTo>
                <a:lnTo>
                  <a:pt x="213584" y="498274"/>
                </a:lnTo>
                <a:lnTo>
                  <a:pt x="204620" y="493954"/>
                </a:lnTo>
                <a:lnTo>
                  <a:pt x="193926" y="486049"/>
                </a:lnTo>
                <a:lnTo>
                  <a:pt x="181482" y="474560"/>
                </a:lnTo>
                <a:lnTo>
                  <a:pt x="175965" y="468858"/>
                </a:lnTo>
                <a:lnTo>
                  <a:pt x="166228" y="457307"/>
                </a:lnTo>
                <a:lnTo>
                  <a:pt x="159812" y="447139"/>
                </a:lnTo>
                <a:lnTo>
                  <a:pt x="160127" y="475234"/>
                </a:lnTo>
                <a:lnTo>
                  <a:pt x="170052" y="485952"/>
                </a:lnTo>
                <a:lnTo>
                  <a:pt x="172605" y="488449"/>
                </a:lnTo>
                <a:lnTo>
                  <a:pt x="184299" y="498667"/>
                </a:lnTo>
                <a:lnTo>
                  <a:pt x="195392" y="506284"/>
                </a:lnTo>
                <a:lnTo>
                  <a:pt x="205883" y="511300"/>
                </a:lnTo>
                <a:lnTo>
                  <a:pt x="215773" y="513715"/>
                </a:lnTo>
                <a:lnTo>
                  <a:pt x="223171" y="513811"/>
                </a:lnTo>
                <a:lnTo>
                  <a:pt x="234929" y="510429"/>
                </a:lnTo>
                <a:close/>
              </a:path>
              <a:path w="643636" h="671969">
                <a:moveTo>
                  <a:pt x="298576" y="403275"/>
                </a:moveTo>
                <a:lnTo>
                  <a:pt x="320167" y="424891"/>
                </a:lnTo>
                <a:lnTo>
                  <a:pt x="331215" y="413804"/>
                </a:lnTo>
                <a:lnTo>
                  <a:pt x="309625" y="392201"/>
                </a:lnTo>
                <a:lnTo>
                  <a:pt x="321818" y="380009"/>
                </a:lnTo>
                <a:lnTo>
                  <a:pt x="311657" y="369849"/>
                </a:lnTo>
                <a:lnTo>
                  <a:pt x="299465" y="382041"/>
                </a:lnTo>
                <a:lnTo>
                  <a:pt x="288417" y="393128"/>
                </a:lnTo>
                <a:lnTo>
                  <a:pt x="260095" y="421386"/>
                </a:lnTo>
                <a:lnTo>
                  <a:pt x="249300" y="432282"/>
                </a:lnTo>
                <a:lnTo>
                  <a:pt x="259461" y="442429"/>
                </a:lnTo>
                <a:lnTo>
                  <a:pt x="298576" y="403275"/>
                </a:lnTo>
                <a:close/>
              </a:path>
              <a:path w="643636" h="671969">
                <a:moveTo>
                  <a:pt x="260095" y="421386"/>
                </a:moveTo>
                <a:lnTo>
                  <a:pt x="247776" y="352425"/>
                </a:lnTo>
                <a:lnTo>
                  <a:pt x="288417" y="393128"/>
                </a:lnTo>
                <a:lnTo>
                  <a:pt x="299465" y="382041"/>
                </a:lnTo>
                <a:lnTo>
                  <a:pt x="241045" y="323557"/>
                </a:lnTo>
                <a:lnTo>
                  <a:pt x="231901" y="332600"/>
                </a:lnTo>
                <a:lnTo>
                  <a:pt x="249300" y="432282"/>
                </a:lnTo>
                <a:lnTo>
                  <a:pt x="260095" y="421386"/>
                </a:lnTo>
                <a:close/>
              </a:path>
              <a:path w="643636" h="671969">
                <a:moveTo>
                  <a:pt x="359918" y="388213"/>
                </a:moveTo>
                <a:lnTo>
                  <a:pt x="292735" y="268732"/>
                </a:lnTo>
                <a:lnTo>
                  <a:pt x="283844" y="277622"/>
                </a:lnTo>
                <a:lnTo>
                  <a:pt x="351027" y="397141"/>
                </a:lnTo>
                <a:lnTo>
                  <a:pt x="359918" y="388213"/>
                </a:lnTo>
                <a:close/>
              </a:path>
              <a:path w="643636" h="671969">
                <a:moveTo>
                  <a:pt x="448563" y="296545"/>
                </a:moveTo>
                <a:lnTo>
                  <a:pt x="437895" y="285877"/>
                </a:lnTo>
                <a:lnTo>
                  <a:pt x="393573" y="330174"/>
                </a:lnTo>
                <a:lnTo>
                  <a:pt x="392811" y="326936"/>
                </a:lnTo>
                <a:lnTo>
                  <a:pt x="392430" y="323380"/>
                </a:lnTo>
                <a:lnTo>
                  <a:pt x="392302" y="319493"/>
                </a:lnTo>
                <a:lnTo>
                  <a:pt x="392175" y="315620"/>
                </a:lnTo>
                <a:lnTo>
                  <a:pt x="392683" y="307594"/>
                </a:lnTo>
                <a:lnTo>
                  <a:pt x="393700" y="295275"/>
                </a:lnTo>
                <a:lnTo>
                  <a:pt x="394434" y="285793"/>
                </a:lnTo>
                <a:lnTo>
                  <a:pt x="395063" y="272433"/>
                </a:lnTo>
                <a:lnTo>
                  <a:pt x="394969" y="262382"/>
                </a:lnTo>
                <a:lnTo>
                  <a:pt x="394462" y="255143"/>
                </a:lnTo>
                <a:lnTo>
                  <a:pt x="393319" y="248920"/>
                </a:lnTo>
                <a:lnTo>
                  <a:pt x="391287" y="243967"/>
                </a:lnTo>
                <a:lnTo>
                  <a:pt x="389255" y="239014"/>
                </a:lnTo>
                <a:lnTo>
                  <a:pt x="386461" y="234696"/>
                </a:lnTo>
                <a:lnTo>
                  <a:pt x="382777" y="231140"/>
                </a:lnTo>
                <a:lnTo>
                  <a:pt x="370109" y="222842"/>
                </a:lnTo>
                <a:lnTo>
                  <a:pt x="357377" y="220853"/>
                </a:lnTo>
                <a:lnTo>
                  <a:pt x="352247" y="221379"/>
                </a:lnTo>
                <a:lnTo>
                  <a:pt x="340647" y="225652"/>
                </a:lnTo>
                <a:lnTo>
                  <a:pt x="329564" y="234188"/>
                </a:lnTo>
                <a:lnTo>
                  <a:pt x="325660" y="238511"/>
                </a:lnTo>
                <a:lnTo>
                  <a:pt x="318699" y="249701"/>
                </a:lnTo>
                <a:lnTo>
                  <a:pt x="315849" y="261366"/>
                </a:lnTo>
                <a:lnTo>
                  <a:pt x="315885" y="266186"/>
                </a:lnTo>
                <a:lnTo>
                  <a:pt x="319006" y="277938"/>
                </a:lnTo>
                <a:lnTo>
                  <a:pt x="326389" y="289560"/>
                </a:lnTo>
                <a:lnTo>
                  <a:pt x="338963" y="279400"/>
                </a:lnTo>
                <a:lnTo>
                  <a:pt x="333375" y="273685"/>
                </a:lnTo>
                <a:lnTo>
                  <a:pt x="330581" y="267589"/>
                </a:lnTo>
                <a:lnTo>
                  <a:pt x="330581" y="254762"/>
                </a:lnTo>
                <a:lnTo>
                  <a:pt x="333248" y="248920"/>
                </a:lnTo>
                <a:lnTo>
                  <a:pt x="338581" y="243586"/>
                </a:lnTo>
                <a:lnTo>
                  <a:pt x="343662" y="238633"/>
                </a:lnTo>
                <a:lnTo>
                  <a:pt x="349250" y="235966"/>
                </a:lnTo>
                <a:lnTo>
                  <a:pt x="355345" y="235839"/>
                </a:lnTo>
                <a:lnTo>
                  <a:pt x="361569" y="235712"/>
                </a:lnTo>
                <a:lnTo>
                  <a:pt x="366775" y="237871"/>
                </a:lnTo>
                <a:lnTo>
                  <a:pt x="371220" y="242316"/>
                </a:lnTo>
                <a:lnTo>
                  <a:pt x="375412" y="246507"/>
                </a:lnTo>
                <a:lnTo>
                  <a:pt x="378079" y="252603"/>
                </a:lnTo>
                <a:lnTo>
                  <a:pt x="379349" y="260731"/>
                </a:lnTo>
                <a:lnTo>
                  <a:pt x="379445" y="261382"/>
                </a:lnTo>
                <a:lnTo>
                  <a:pt x="380122" y="271104"/>
                </a:lnTo>
                <a:lnTo>
                  <a:pt x="379836" y="283901"/>
                </a:lnTo>
                <a:lnTo>
                  <a:pt x="378587" y="299720"/>
                </a:lnTo>
                <a:lnTo>
                  <a:pt x="378266" y="303170"/>
                </a:lnTo>
                <a:lnTo>
                  <a:pt x="377486" y="316838"/>
                </a:lnTo>
                <a:lnTo>
                  <a:pt x="377698" y="327926"/>
                </a:lnTo>
                <a:lnTo>
                  <a:pt x="378332" y="335216"/>
                </a:lnTo>
                <a:lnTo>
                  <a:pt x="379856" y="341655"/>
                </a:lnTo>
                <a:lnTo>
                  <a:pt x="382396" y="347230"/>
                </a:lnTo>
                <a:lnTo>
                  <a:pt x="383920" y="350634"/>
                </a:lnTo>
                <a:lnTo>
                  <a:pt x="386080" y="353631"/>
                </a:lnTo>
                <a:lnTo>
                  <a:pt x="388874" y="356222"/>
                </a:lnTo>
                <a:lnTo>
                  <a:pt x="448563" y="296545"/>
                </a:lnTo>
                <a:close/>
              </a:path>
              <a:path w="643636" h="671969">
                <a:moveTo>
                  <a:pt x="421718" y="223147"/>
                </a:moveTo>
                <a:lnTo>
                  <a:pt x="411977" y="211578"/>
                </a:lnTo>
                <a:lnTo>
                  <a:pt x="405558" y="201416"/>
                </a:lnTo>
                <a:lnTo>
                  <a:pt x="402463" y="192659"/>
                </a:lnTo>
                <a:lnTo>
                  <a:pt x="405877" y="229555"/>
                </a:lnTo>
                <a:lnTo>
                  <a:pt x="415798" y="240284"/>
                </a:lnTo>
                <a:lnTo>
                  <a:pt x="418200" y="242645"/>
                </a:lnTo>
                <a:lnTo>
                  <a:pt x="429869" y="252893"/>
                </a:lnTo>
                <a:lnTo>
                  <a:pt x="421718" y="22314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3" name="object 193"/>
          <p:cNvSpPr/>
          <p:nvPr/>
        </p:nvSpPr>
        <p:spPr>
          <a:xfrm>
            <a:off x="2959101" y="3960329"/>
            <a:ext cx="645033" cy="495288"/>
          </a:xfrm>
          <a:custGeom>
            <a:avLst/>
            <a:gdLst/>
            <a:ahLst/>
            <a:cxnLst/>
            <a:rect l="l" t="t" r="r" b="b"/>
            <a:pathLst>
              <a:path w="645033" h="661301">
                <a:moveTo>
                  <a:pt x="132714" y="601637"/>
                </a:moveTo>
                <a:lnTo>
                  <a:pt x="122047" y="590994"/>
                </a:lnTo>
                <a:lnTo>
                  <a:pt x="77850" y="635253"/>
                </a:lnTo>
                <a:lnTo>
                  <a:pt x="77088" y="632015"/>
                </a:lnTo>
                <a:lnTo>
                  <a:pt x="76581" y="628459"/>
                </a:lnTo>
                <a:lnTo>
                  <a:pt x="76454" y="624573"/>
                </a:lnTo>
                <a:lnTo>
                  <a:pt x="76326" y="620699"/>
                </a:lnTo>
                <a:lnTo>
                  <a:pt x="76835" y="612647"/>
                </a:lnTo>
                <a:lnTo>
                  <a:pt x="77977" y="600417"/>
                </a:lnTo>
                <a:lnTo>
                  <a:pt x="78647" y="590832"/>
                </a:lnTo>
                <a:lnTo>
                  <a:pt x="79222" y="577493"/>
                </a:lnTo>
                <a:lnTo>
                  <a:pt x="79120" y="567448"/>
                </a:lnTo>
                <a:lnTo>
                  <a:pt x="78739" y="560158"/>
                </a:lnTo>
                <a:lnTo>
                  <a:pt x="77469" y="554037"/>
                </a:lnTo>
                <a:lnTo>
                  <a:pt x="75437" y="549071"/>
                </a:lnTo>
                <a:lnTo>
                  <a:pt x="73406" y="544106"/>
                </a:lnTo>
                <a:lnTo>
                  <a:pt x="70612" y="539813"/>
                </a:lnTo>
                <a:lnTo>
                  <a:pt x="67056" y="536206"/>
                </a:lnTo>
                <a:lnTo>
                  <a:pt x="54340" y="527915"/>
                </a:lnTo>
                <a:lnTo>
                  <a:pt x="41656" y="525919"/>
                </a:lnTo>
                <a:lnTo>
                  <a:pt x="36461" y="526443"/>
                </a:lnTo>
                <a:lnTo>
                  <a:pt x="24829" y="530722"/>
                </a:lnTo>
                <a:lnTo>
                  <a:pt x="13843" y="539280"/>
                </a:lnTo>
                <a:lnTo>
                  <a:pt x="9850" y="543622"/>
                </a:lnTo>
                <a:lnTo>
                  <a:pt x="2850" y="554790"/>
                </a:lnTo>
                <a:lnTo>
                  <a:pt x="0" y="566458"/>
                </a:lnTo>
                <a:lnTo>
                  <a:pt x="42" y="571349"/>
                </a:lnTo>
                <a:lnTo>
                  <a:pt x="3197" y="583085"/>
                </a:lnTo>
                <a:lnTo>
                  <a:pt x="10668" y="594690"/>
                </a:lnTo>
                <a:lnTo>
                  <a:pt x="23241" y="584466"/>
                </a:lnTo>
                <a:lnTo>
                  <a:pt x="17525" y="578764"/>
                </a:lnTo>
                <a:lnTo>
                  <a:pt x="14731" y="572706"/>
                </a:lnTo>
                <a:lnTo>
                  <a:pt x="14731" y="559904"/>
                </a:lnTo>
                <a:lnTo>
                  <a:pt x="17399" y="554037"/>
                </a:lnTo>
                <a:lnTo>
                  <a:pt x="22732" y="548703"/>
                </a:lnTo>
                <a:lnTo>
                  <a:pt x="27812" y="543648"/>
                </a:lnTo>
                <a:lnTo>
                  <a:pt x="33400" y="541058"/>
                </a:lnTo>
                <a:lnTo>
                  <a:pt x="45719" y="540816"/>
                </a:lnTo>
                <a:lnTo>
                  <a:pt x="51054" y="542950"/>
                </a:lnTo>
                <a:lnTo>
                  <a:pt x="55372" y="547344"/>
                </a:lnTo>
                <a:lnTo>
                  <a:pt x="59562" y="551535"/>
                </a:lnTo>
                <a:lnTo>
                  <a:pt x="62356" y="557695"/>
                </a:lnTo>
                <a:lnTo>
                  <a:pt x="63500" y="565848"/>
                </a:lnTo>
                <a:lnTo>
                  <a:pt x="63598" y="566508"/>
                </a:lnTo>
                <a:lnTo>
                  <a:pt x="64274" y="576220"/>
                </a:lnTo>
                <a:lnTo>
                  <a:pt x="63987" y="589001"/>
                </a:lnTo>
                <a:lnTo>
                  <a:pt x="62737" y="604850"/>
                </a:lnTo>
                <a:lnTo>
                  <a:pt x="62421" y="608239"/>
                </a:lnTo>
                <a:lnTo>
                  <a:pt x="61658" y="621900"/>
                </a:lnTo>
                <a:lnTo>
                  <a:pt x="61975" y="633006"/>
                </a:lnTo>
                <a:lnTo>
                  <a:pt x="62611" y="640295"/>
                </a:lnTo>
                <a:lnTo>
                  <a:pt x="64135" y="646734"/>
                </a:lnTo>
                <a:lnTo>
                  <a:pt x="66675" y="652310"/>
                </a:lnTo>
                <a:lnTo>
                  <a:pt x="68199" y="655713"/>
                </a:lnTo>
                <a:lnTo>
                  <a:pt x="70357" y="658710"/>
                </a:lnTo>
                <a:lnTo>
                  <a:pt x="73025" y="661301"/>
                </a:lnTo>
                <a:lnTo>
                  <a:pt x="132714" y="601637"/>
                </a:lnTo>
                <a:close/>
              </a:path>
              <a:path w="645033" h="661301">
                <a:moveTo>
                  <a:pt x="105912" y="528243"/>
                </a:moveTo>
                <a:lnTo>
                  <a:pt x="96220" y="516691"/>
                </a:lnTo>
                <a:lnTo>
                  <a:pt x="89788" y="506521"/>
                </a:lnTo>
                <a:lnTo>
                  <a:pt x="86613" y="497738"/>
                </a:lnTo>
                <a:lnTo>
                  <a:pt x="90150" y="534612"/>
                </a:lnTo>
                <a:lnTo>
                  <a:pt x="100075" y="545325"/>
                </a:lnTo>
                <a:lnTo>
                  <a:pt x="102513" y="547729"/>
                </a:lnTo>
                <a:lnTo>
                  <a:pt x="114172" y="557990"/>
                </a:lnTo>
                <a:lnTo>
                  <a:pt x="105912" y="528243"/>
                </a:lnTo>
                <a:close/>
              </a:path>
              <a:path w="645033" h="661301">
                <a:moveTo>
                  <a:pt x="164823" y="569805"/>
                </a:moveTo>
                <a:lnTo>
                  <a:pt x="175513" y="561949"/>
                </a:lnTo>
                <a:lnTo>
                  <a:pt x="182118" y="555345"/>
                </a:lnTo>
                <a:lnTo>
                  <a:pt x="185800" y="548093"/>
                </a:lnTo>
                <a:lnTo>
                  <a:pt x="186562" y="540219"/>
                </a:lnTo>
                <a:lnTo>
                  <a:pt x="186594" y="539879"/>
                </a:lnTo>
                <a:lnTo>
                  <a:pt x="185762" y="527915"/>
                </a:lnTo>
                <a:lnTo>
                  <a:pt x="181229" y="515378"/>
                </a:lnTo>
                <a:lnTo>
                  <a:pt x="176398" y="507171"/>
                </a:lnTo>
                <a:lnTo>
                  <a:pt x="168758" y="497168"/>
                </a:lnTo>
                <a:lnTo>
                  <a:pt x="158876" y="486473"/>
                </a:lnTo>
                <a:lnTo>
                  <a:pt x="154637" y="482321"/>
                </a:lnTo>
                <a:lnTo>
                  <a:pt x="144460" y="473421"/>
                </a:lnTo>
                <a:lnTo>
                  <a:pt x="135508" y="467169"/>
                </a:lnTo>
                <a:lnTo>
                  <a:pt x="128905" y="463245"/>
                </a:lnTo>
                <a:lnTo>
                  <a:pt x="122555" y="460641"/>
                </a:lnTo>
                <a:lnTo>
                  <a:pt x="116458" y="459346"/>
                </a:lnTo>
                <a:lnTo>
                  <a:pt x="110489" y="458063"/>
                </a:lnTo>
                <a:lnTo>
                  <a:pt x="104648" y="458266"/>
                </a:lnTo>
                <a:lnTo>
                  <a:pt x="99060" y="459968"/>
                </a:lnTo>
                <a:lnTo>
                  <a:pt x="93344" y="461670"/>
                </a:lnTo>
                <a:lnTo>
                  <a:pt x="88137" y="464946"/>
                </a:lnTo>
                <a:lnTo>
                  <a:pt x="83312" y="469785"/>
                </a:lnTo>
                <a:lnTo>
                  <a:pt x="76707" y="476351"/>
                </a:lnTo>
                <a:lnTo>
                  <a:pt x="73025" y="483565"/>
                </a:lnTo>
                <a:lnTo>
                  <a:pt x="72262" y="491426"/>
                </a:lnTo>
                <a:lnTo>
                  <a:pt x="72231" y="491765"/>
                </a:lnTo>
                <a:lnTo>
                  <a:pt x="73063" y="503711"/>
                </a:lnTo>
                <a:lnTo>
                  <a:pt x="77597" y="516267"/>
                </a:lnTo>
                <a:lnTo>
                  <a:pt x="82501" y="524604"/>
                </a:lnTo>
                <a:lnTo>
                  <a:pt x="90150" y="534612"/>
                </a:lnTo>
                <a:lnTo>
                  <a:pt x="86613" y="497738"/>
                </a:lnTo>
                <a:lnTo>
                  <a:pt x="85343" y="490385"/>
                </a:lnTo>
                <a:lnTo>
                  <a:pt x="87249" y="484174"/>
                </a:lnTo>
                <a:lnTo>
                  <a:pt x="92329" y="479082"/>
                </a:lnTo>
                <a:lnTo>
                  <a:pt x="97536" y="473913"/>
                </a:lnTo>
                <a:lnTo>
                  <a:pt x="104267" y="472033"/>
                </a:lnTo>
                <a:lnTo>
                  <a:pt x="112649" y="473455"/>
                </a:lnTo>
                <a:lnTo>
                  <a:pt x="124319" y="478427"/>
                </a:lnTo>
                <a:lnTo>
                  <a:pt x="135009" y="486346"/>
                </a:lnTo>
                <a:lnTo>
                  <a:pt x="147447" y="497865"/>
                </a:lnTo>
                <a:lnTo>
                  <a:pt x="151802" y="502305"/>
                </a:lnTo>
                <a:lnTo>
                  <a:pt x="162093" y="514119"/>
                </a:lnTo>
                <a:lnTo>
                  <a:pt x="168769" y="524222"/>
                </a:lnTo>
                <a:lnTo>
                  <a:pt x="171831" y="532612"/>
                </a:lnTo>
                <a:lnTo>
                  <a:pt x="173355" y="541007"/>
                </a:lnTo>
                <a:lnTo>
                  <a:pt x="171450" y="547750"/>
                </a:lnTo>
                <a:lnTo>
                  <a:pt x="166369" y="552830"/>
                </a:lnTo>
                <a:lnTo>
                  <a:pt x="161289" y="557923"/>
                </a:lnTo>
                <a:lnTo>
                  <a:pt x="154558" y="559752"/>
                </a:lnTo>
                <a:lnTo>
                  <a:pt x="146176" y="558317"/>
                </a:lnTo>
                <a:lnTo>
                  <a:pt x="143476" y="557658"/>
                </a:lnTo>
                <a:lnTo>
                  <a:pt x="134513" y="553337"/>
                </a:lnTo>
                <a:lnTo>
                  <a:pt x="123820" y="545429"/>
                </a:lnTo>
                <a:lnTo>
                  <a:pt x="111379" y="533933"/>
                </a:lnTo>
                <a:lnTo>
                  <a:pt x="105912" y="528243"/>
                </a:lnTo>
                <a:lnTo>
                  <a:pt x="114172" y="557990"/>
                </a:lnTo>
                <a:lnTo>
                  <a:pt x="125258" y="565635"/>
                </a:lnTo>
                <a:lnTo>
                  <a:pt x="135760" y="570667"/>
                </a:lnTo>
                <a:lnTo>
                  <a:pt x="145669" y="573087"/>
                </a:lnTo>
                <a:lnTo>
                  <a:pt x="153063" y="573184"/>
                </a:lnTo>
                <a:lnTo>
                  <a:pt x="164823" y="569805"/>
                </a:lnTo>
                <a:close/>
              </a:path>
              <a:path w="645033" h="661301">
                <a:moveTo>
                  <a:pt x="234893" y="499761"/>
                </a:moveTo>
                <a:lnTo>
                  <a:pt x="236474" y="482790"/>
                </a:lnTo>
                <a:lnTo>
                  <a:pt x="231394" y="487883"/>
                </a:lnTo>
                <a:lnTo>
                  <a:pt x="224662" y="489711"/>
                </a:lnTo>
                <a:lnTo>
                  <a:pt x="216281" y="488264"/>
                </a:lnTo>
                <a:lnTo>
                  <a:pt x="213581" y="487606"/>
                </a:lnTo>
                <a:lnTo>
                  <a:pt x="204583" y="483286"/>
                </a:lnTo>
                <a:lnTo>
                  <a:pt x="193870" y="475381"/>
                </a:lnTo>
                <a:lnTo>
                  <a:pt x="181482" y="463892"/>
                </a:lnTo>
                <a:lnTo>
                  <a:pt x="175965" y="458190"/>
                </a:lnTo>
                <a:lnTo>
                  <a:pt x="166228" y="446639"/>
                </a:lnTo>
                <a:lnTo>
                  <a:pt x="159812" y="436471"/>
                </a:lnTo>
                <a:lnTo>
                  <a:pt x="160127" y="464566"/>
                </a:lnTo>
                <a:lnTo>
                  <a:pt x="170052" y="475284"/>
                </a:lnTo>
                <a:lnTo>
                  <a:pt x="172507" y="477687"/>
                </a:lnTo>
                <a:lnTo>
                  <a:pt x="184205" y="487944"/>
                </a:lnTo>
                <a:lnTo>
                  <a:pt x="195280" y="495590"/>
                </a:lnTo>
                <a:lnTo>
                  <a:pt x="205753" y="500625"/>
                </a:lnTo>
                <a:lnTo>
                  <a:pt x="215645" y="503046"/>
                </a:lnTo>
                <a:lnTo>
                  <a:pt x="223111" y="503143"/>
                </a:lnTo>
                <a:lnTo>
                  <a:pt x="234893" y="499761"/>
                </a:lnTo>
                <a:close/>
              </a:path>
              <a:path w="645033" h="661301">
                <a:moveTo>
                  <a:pt x="292690" y="434936"/>
                </a:moveTo>
                <a:lnTo>
                  <a:pt x="304359" y="430642"/>
                </a:lnTo>
                <a:lnTo>
                  <a:pt x="315213" y="422287"/>
                </a:lnTo>
                <a:lnTo>
                  <a:pt x="323237" y="411776"/>
                </a:lnTo>
                <a:lnTo>
                  <a:pt x="327498" y="400217"/>
                </a:lnTo>
                <a:lnTo>
                  <a:pt x="327913" y="387629"/>
                </a:lnTo>
                <a:lnTo>
                  <a:pt x="326823" y="381440"/>
                </a:lnTo>
                <a:lnTo>
                  <a:pt x="322039" y="369758"/>
                </a:lnTo>
                <a:lnTo>
                  <a:pt x="313816" y="359308"/>
                </a:lnTo>
                <a:lnTo>
                  <a:pt x="308508" y="354630"/>
                </a:lnTo>
                <a:lnTo>
                  <a:pt x="297155" y="348464"/>
                </a:lnTo>
                <a:lnTo>
                  <a:pt x="284733" y="346379"/>
                </a:lnTo>
                <a:lnTo>
                  <a:pt x="279316" y="346700"/>
                </a:lnTo>
                <a:lnTo>
                  <a:pt x="267139" y="350368"/>
                </a:lnTo>
                <a:lnTo>
                  <a:pt x="256539" y="358139"/>
                </a:lnTo>
                <a:lnTo>
                  <a:pt x="249198" y="368295"/>
                </a:lnTo>
                <a:lnTo>
                  <a:pt x="245110" y="380860"/>
                </a:lnTo>
                <a:lnTo>
                  <a:pt x="225806" y="351739"/>
                </a:lnTo>
                <a:lnTo>
                  <a:pt x="261747" y="315721"/>
                </a:lnTo>
                <a:lnTo>
                  <a:pt x="251206" y="305130"/>
                </a:lnTo>
                <a:lnTo>
                  <a:pt x="206375" y="350011"/>
                </a:lnTo>
                <a:lnTo>
                  <a:pt x="243967" y="405104"/>
                </a:lnTo>
                <a:lnTo>
                  <a:pt x="255650" y="396062"/>
                </a:lnTo>
                <a:lnTo>
                  <a:pt x="254762" y="391833"/>
                </a:lnTo>
                <a:lnTo>
                  <a:pt x="254888" y="387476"/>
                </a:lnTo>
                <a:lnTo>
                  <a:pt x="256158" y="382981"/>
                </a:lnTo>
                <a:lnTo>
                  <a:pt x="257429" y="378485"/>
                </a:lnTo>
                <a:lnTo>
                  <a:pt x="259842" y="374446"/>
                </a:lnTo>
                <a:lnTo>
                  <a:pt x="263398" y="370878"/>
                </a:lnTo>
                <a:lnTo>
                  <a:pt x="269113" y="365137"/>
                </a:lnTo>
                <a:lnTo>
                  <a:pt x="275589" y="362318"/>
                </a:lnTo>
                <a:lnTo>
                  <a:pt x="290068" y="362521"/>
                </a:lnTo>
                <a:lnTo>
                  <a:pt x="296799" y="365734"/>
                </a:lnTo>
                <a:lnTo>
                  <a:pt x="303149" y="372046"/>
                </a:lnTo>
                <a:lnTo>
                  <a:pt x="309752" y="378701"/>
                </a:lnTo>
                <a:lnTo>
                  <a:pt x="313182" y="385876"/>
                </a:lnTo>
                <a:lnTo>
                  <a:pt x="313563" y="393598"/>
                </a:lnTo>
                <a:lnTo>
                  <a:pt x="313944" y="401319"/>
                </a:lnTo>
                <a:lnTo>
                  <a:pt x="311403" y="407835"/>
                </a:lnTo>
                <a:lnTo>
                  <a:pt x="306070" y="413181"/>
                </a:lnTo>
                <a:lnTo>
                  <a:pt x="301625" y="417614"/>
                </a:lnTo>
                <a:lnTo>
                  <a:pt x="296417" y="419963"/>
                </a:lnTo>
                <a:lnTo>
                  <a:pt x="290449" y="420255"/>
                </a:lnTo>
                <a:lnTo>
                  <a:pt x="284480" y="420547"/>
                </a:lnTo>
                <a:lnTo>
                  <a:pt x="278130" y="418287"/>
                </a:lnTo>
                <a:lnTo>
                  <a:pt x="271652" y="413486"/>
                </a:lnTo>
                <a:lnTo>
                  <a:pt x="260985" y="426097"/>
                </a:lnTo>
                <a:lnTo>
                  <a:pt x="264266" y="428569"/>
                </a:lnTo>
                <a:lnTo>
                  <a:pt x="275812" y="434152"/>
                </a:lnTo>
                <a:lnTo>
                  <a:pt x="288163" y="435495"/>
                </a:lnTo>
                <a:lnTo>
                  <a:pt x="292690" y="434936"/>
                </a:lnTo>
                <a:close/>
              </a:path>
              <a:path w="645033" h="661301">
                <a:moveTo>
                  <a:pt x="359917" y="377545"/>
                </a:moveTo>
                <a:lnTo>
                  <a:pt x="292735" y="258063"/>
                </a:lnTo>
                <a:lnTo>
                  <a:pt x="283844" y="266953"/>
                </a:lnTo>
                <a:lnTo>
                  <a:pt x="351027" y="386473"/>
                </a:lnTo>
                <a:lnTo>
                  <a:pt x="359917" y="377545"/>
                </a:lnTo>
                <a:close/>
              </a:path>
              <a:path w="645033" h="661301">
                <a:moveTo>
                  <a:pt x="448437" y="285876"/>
                </a:moveTo>
                <a:lnTo>
                  <a:pt x="437769" y="275208"/>
                </a:lnTo>
                <a:lnTo>
                  <a:pt x="393573" y="319506"/>
                </a:lnTo>
                <a:lnTo>
                  <a:pt x="392811" y="316268"/>
                </a:lnTo>
                <a:lnTo>
                  <a:pt x="392302" y="312712"/>
                </a:lnTo>
                <a:lnTo>
                  <a:pt x="392175" y="304952"/>
                </a:lnTo>
                <a:lnTo>
                  <a:pt x="392557" y="296925"/>
                </a:lnTo>
                <a:lnTo>
                  <a:pt x="393700" y="284606"/>
                </a:lnTo>
                <a:lnTo>
                  <a:pt x="394433" y="275118"/>
                </a:lnTo>
                <a:lnTo>
                  <a:pt x="395034" y="261763"/>
                </a:lnTo>
                <a:lnTo>
                  <a:pt x="394842" y="251713"/>
                </a:lnTo>
                <a:lnTo>
                  <a:pt x="394462" y="244474"/>
                </a:lnTo>
                <a:lnTo>
                  <a:pt x="393191" y="238251"/>
                </a:lnTo>
                <a:lnTo>
                  <a:pt x="391160" y="233298"/>
                </a:lnTo>
                <a:lnTo>
                  <a:pt x="389254" y="228345"/>
                </a:lnTo>
                <a:lnTo>
                  <a:pt x="386334" y="224027"/>
                </a:lnTo>
                <a:lnTo>
                  <a:pt x="382777" y="220471"/>
                </a:lnTo>
                <a:lnTo>
                  <a:pt x="370058" y="212174"/>
                </a:lnTo>
                <a:lnTo>
                  <a:pt x="357377" y="210184"/>
                </a:lnTo>
                <a:lnTo>
                  <a:pt x="352191" y="210711"/>
                </a:lnTo>
                <a:lnTo>
                  <a:pt x="340555" y="214984"/>
                </a:lnTo>
                <a:lnTo>
                  <a:pt x="329564" y="223519"/>
                </a:lnTo>
                <a:lnTo>
                  <a:pt x="325617" y="227884"/>
                </a:lnTo>
                <a:lnTo>
                  <a:pt x="318610" y="239054"/>
                </a:lnTo>
                <a:lnTo>
                  <a:pt x="315722" y="250697"/>
                </a:lnTo>
                <a:lnTo>
                  <a:pt x="315762" y="255556"/>
                </a:lnTo>
                <a:lnTo>
                  <a:pt x="318912" y="267289"/>
                </a:lnTo>
                <a:lnTo>
                  <a:pt x="326389" y="278891"/>
                </a:lnTo>
                <a:lnTo>
                  <a:pt x="338963" y="268731"/>
                </a:lnTo>
                <a:lnTo>
                  <a:pt x="333375" y="263016"/>
                </a:lnTo>
                <a:lnTo>
                  <a:pt x="330453" y="256920"/>
                </a:lnTo>
                <a:lnTo>
                  <a:pt x="330453" y="244093"/>
                </a:lnTo>
                <a:lnTo>
                  <a:pt x="333121" y="238251"/>
                </a:lnTo>
                <a:lnTo>
                  <a:pt x="338454" y="232917"/>
                </a:lnTo>
                <a:lnTo>
                  <a:pt x="343535" y="227964"/>
                </a:lnTo>
                <a:lnTo>
                  <a:pt x="349123" y="225297"/>
                </a:lnTo>
                <a:lnTo>
                  <a:pt x="355346" y="225170"/>
                </a:lnTo>
                <a:lnTo>
                  <a:pt x="361441" y="225043"/>
                </a:lnTo>
                <a:lnTo>
                  <a:pt x="366775" y="227202"/>
                </a:lnTo>
                <a:lnTo>
                  <a:pt x="371094" y="231647"/>
                </a:lnTo>
                <a:lnTo>
                  <a:pt x="375285" y="235838"/>
                </a:lnTo>
                <a:lnTo>
                  <a:pt x="378078" y="241934"/>
                </a:lnTo>
                <a:lnTo>
                  <a:pt x="379349" y="250062"/>
                </a:lnTo>
                <a:lnTo>
                  <a:pt x="379445" y="250714"/>
                </a:lnTo>
                <a:lnTo>
                  <a:pt x="380092" y="260436"/>
                </a:lnTo>
                <a:lnTo>
                  <a:pt x="379780" y="273233"/>
                </a:lnTo>
                <a:lnTo>
                  <a:pt x="378587" y="289051"/>
                </a:lnTo>
                <a:lnTo>
                  <a:pt x="378260" y="292521"/>
                </a:lnTo>
                <a:lnTo>
                  <a:pt x="377434" y="306178"/>
                </a:lnTo>
                <a:lnTo>
                  <a:pt x="377698" y="317258"/>
                </a:lnTo>
                <a:lnTo>
                  <a:pt x="378333" y="324548"/>
                </a:lnTo>
                <a:lnTo>
                  <a:pt x="379857" y="330987"/>
                </a:lnTo>
                <a:lnTo>
                  <a:pt x="382397" y="336562"/>
                </a:lnTo>
                <a:lnTo>
                  <a:pt x="383921" y="339966"/>
                </a:lnTo>
                <a:lnTo>
                  <a:pt x="386079" y="342963"/>
                </a:lnTo>
                <a:lnTo>
                  <a:pt x="388874" y="345554"/>
                </a:lnTo>
                <a:lnTo>
                  <a:pt x="448437" y="285876"/>
                </a:lnTo>
                <a:close/>
              </a:path>
              <a:path w="645033" h="661301">
                <a:moveTo>
                  <a:pt x="480588" y="254057"/>
                </a:moveTo>
                <a:lnTo>
                  <a:pt x="482091" y="237108"/>
                </a:lnTo>
                <a:lnTo>
                  <a:pt x="477012" y="242188"/>
                </a:lnTo>
                <a:lnTo>
                  <a:pt x="470280" y="243966"/>
                </a:lnTo>
                <a:lnTo>
                  <a:pt x="461899" y="242569"/>
                </a:lnTo>
                <a:lnTo>
                  <a:pt x="459198" y="241921"/>
                </a:lnTo>
                <a:lnTo>
                  <a:pt x="450235" y="237617"/>
                </a:lnTo>
                <a:lnTo>
                  <a:pt x="439542" y="229705"/>
                </a:lnTo>
                <a:lnTo>
                  <a:pt x="427100" y="218185"/>
                </a:lnTo>
                <a:lnTo>
                  <a:pt x="421690" y="212539"/>
                </a:lnTo>
                <a:lnTo>
                  <a:pt x="411978" y="200946"/>
                </a:lnTo>
                <a:lnTo>
                  <a:pt x="405563" y="190763"/>
                </a:lnTo>
                <a:lnTo>
                  <a:pt x="405877" y="218887"/>
                </a:lnTo>
                <a:lnTo>
                  <a:pt x="415798" y="229615"/>
                </a:lnTo>
                <a:lnTo>
                  <a:pt x="418200" y="231977"/>
                </a:lnTo>
                <a:lnTo>
                  <a:pt x="429869" y="242225"/>
                </a:lnTo>
                <a:lnTo>
                  <a:pt x="440964" y="249868"/>
                </a:lnTo>
                <a:lnTo>
                  <a:pt x="451474" y="254897"/>
                </a:lnTo>
                <a:lnTo>
                  <a:pt x="461390" y="257301"/>
                </a:lnTo>
                <a:lnTo>
                  <a:pt x="468772" y="257405"/>
                </a:lnTo>
                <a:lnTo>
                  <a:pt x="480588" y="254057"/>
                </a:lnTo>
                <a:close/>
              </a:path>
              <a:path w="645033" h="661301">
                <a:moveTo>
                  <a:pt x="550655" y="184042"/>
                </a:moveTo>
                <a:lnTo>
                  <a:pt x="552196" y="167004"/>
                </a:lnTo>
                <a:lnTo>
                  <a:pt x="547115" y="172084"/>
                </a:lnTo>
                <a:lnTo>
                  <a:pt x="540385" y="173989"/>
                </a:lnTo>
                <a:lnTo>
                  <a:pt x="532002" y="172465"/>
                </a:lnTo>
                <a:lnTo>
                  <a:pt x="529302" y="171817"/>
                </a:lnTo>
                <a:lnTo>
                  <a:pt x="520339" y="167513"/>
                </a:lnTo>
                <a:lnTo>
                  <a:pt x="509646" y="159601"/>
                </a:lnTo>
                <a:lnTo>
                  <a:pt x="497204" y="148081"/>
                </a:lnTo>
                <a:lnTo>
                  <a:pt x="491695" y="142418"/>
                </a:lnTo>
                <a:lnTo>
                  <a:pt x="481954" y="130899"/>
                </a:lnTo>
                <a:lnTo>
                  <a:pt x="475535" y="120722"/>
                </a:lnTo>
                <a:lnTo>
                  <a:pt x="475854" y="148813"/>
                </a:lnTo>
                <a:lnTo>
                  <a:pt x="485775" y="159511"/>
                </a:lnTo>
                <a:lnTo>
                  <a:pt x="488351" y="162042"/>
                </a:lnTo>
                <a:lnTo>
                  <a:pt x="500038" y="172289"/>
                </a:lnTo>
                <a:lnTo>
                  <a:pt x="511124" y="179919"/>
                </a:lnTo>
                <a:lnTo>
                  <a:pt x="521610" y="184931"/>
                </a:lnTo>
                <a:lnTo>
                  <a:pt x="531495" y="187324"/>
                </a:lnTo>
                <a:lnTo>
                  <a:pt x="538901" y="187423"/>
                </a:lnTo>
                <a:lnTo>
                  <a:pt x="550655" y="184042"/>
                </a:lnTo>
                <a:close/>
              </a:path>
              <a:path w="645033" h="661301">
                <a:moveTo>
                  <a:pt x="610581" y="116661"/>
                </a:moveTo>
                <a:lnTo>
                  <a:pt x="622318" y="112587"/>
                </a:lnTo>
                <a:lnTo>
                  <a:pt x="632713" y="104647"/>
                </a:lnTo>
                <a:lnTo>
                  <a:pt x="638175" y="99313"/>
                </a:lnTo>
                <a:lnTo>
                  <a:pt x="641730" y="93090"/>
                </a:lnTo>
                <a:lnTo>
                  <a:pt x="643382" y="86232"/>
                </a:lnTo>
                <a:lnTo>
                  <a:pt x="645033" y="79374"/>
                </a:lnTo>
                <a:lnTo>
                  <a:pt x="644778" y="72389"/>
                </a:lnTo>
                <a:lnTo>
                  <a:pt x="642238" y="65023"/>
                </a:lnTo>
                <a:lnTo>
                  <a:pt x="639826" y="57784"/>
                </a:lnTo>
                <a:lnTo>
                  <a:pt x="635888" y="51307"/>
                </a:lnTo>
                <a:lnTo>
                  <a:pt x="630174" y="45592"/>
                </a:lnTo>
                <a:lnTo>
                  <a:pt x="624862" y="40907"/>
                </a:lnTo>
                <a:lnTo>
                  <a:pt x="613554" y="34572"/>
                </a:lnTo>
                <a:lnTo>
                  <a:pt x="601345" y="32257"/>
                </a:lnTo>
                <a:lnTo>
                  <a:pt x="597156" y="32360"/>
                </a:lnTo>
                <a:lnTo>
                  <a:pt x="584796" y="35521"/>
                </a:lnTo>
                <a:lnTo>
                  <a:pt x="574294" y="43052"/>
                </a:lnTo>
                <a:lnTo>
                  <a:pt x="569976" y="47243"/>
                </a:lnTo>
                <a:lnTo>
                  <a:pt x="566927" y="52323"/>
                </a:lnTo>
                <a:lnTo>
                  <a:pt x="565150" y="58038"/>
                </a:lnTo>
                <a:lnTo>
                  <a:pt x="563245" y="63880"/>
                </a:lnTo>
                <a:lnTo>
                  <a:pt x="562990" y="70230"/>
                </a:lnTo>
                <a:lnTo>
                  <a:pt x="564388" y="76961"/>
                </a:lnTo>
                <a:lnTo>
                  <a:pt x="560551" y="72932"/>
                </a:lnTo>
                <a:lnTo>
                  <a:pt x="551937" y="62326"/>
                </a:lnTo>
                <a:lnTo>
                  <a:pt x="546608" y="52958"/>
                </a:lnTo>
                <a:lnTo>
                  <a:pt x="543813" y="45973"/>
                </a:lnTo>
                <a:lnTo>
                  <a:pt x="542798" y="39496"/>
                </a:lnTo>
                <a:lnTo>
                  <a:pt x="543687" y="33527"/>
                </a:lnTo>
                <a:lnTo>
                  <a:pt x="544449" y="28828"/>
                </a:lnTo>
                <a:lnTo>
                  <a:pt x="546480" y="24764"/>
                </a:lnTo>
                <a:lnTo>
                  <a:pt x="550037" y="21335"/>
                </a:lnTo>
                <a:lnTo>
                  <a:pt x="554482" y="16890"/>
                </a:lnTo>
                <a:lnTo>
                  <a:pt x="559688" y="14731"/>
                </a:lnTo>
                <a:lnTo>
                  <a:pt x="565912" y="14985"/>
                </a:lnTo>
                <a:lnTo>
                  <a:pt x="569722" y="15112"/>
                </a:lnTo>
                <a:lnTo>
                  <a:pt x="574166" y="16890"/>
                </a:lnTo>
                <a:lnTo>
                  <a:pt x="579501" y="20192"/>
                </a:lnTo>
                <a:lnTo>
                  <a:pt x="589661" y="8381"/>
                </a:lnTo>
                <a:lnTo>
                  <a:pt x="588790" y="7722"/>
                </a:lnTo>
                <a:lnTo>
                  <a:pt x="577126" y="1563"/>
                </a:lnTo>
                <a:lnTo>
                  <a:pt x="565023" y="0"/>
                </a:lnTo>
                <a:lnTo>
                  <a:pt x="564422" y="41"/>
                </a:lnTo>
                <a:lnTo>
                  <a:pt x="552540" y="3423"/>
                </a:lnTo>
                <a:lnTo>
                  <a:pt x="541654" y="11429"/>
                </a:lnTo>
                <a:lnTo>
                  <a:pt x="534492" y="20469"/>
                </a:lnTo>
                <a:lnTo>
                  <a:pt x="529870" y="31965"/>
                </a:lnTo>
                <a:lnTo>
                  <a:pt x="529209" y="44576"/>
                </a:lnTo>
                <a:lnTo>
                  <a:pt x="529764" y="48237"/>
                </a:lnTo>
                <a:lnTo>
                  <a:pt x="532991" y="58509"/>
                </a:lnTo>
                <a:lnTo>
                  <a:pt x="538722" y="69261"/>
                </a:lnTo>
                <a:lnTo>
                  <a:pt x="546946" y="80491"/>
                </a:lnTo>
                <a:lnTo>
                  <a:pt x="557657" y="92201"/>
                </a:lnTo>
                <a:lnTo>
                  <a:pt x="567907" y="101577"/>
                </a:lnTo>
                <a:lnTo>
                  <a:pt x="579199" y="109680"/>
                </a:lnTo>
                <a:lnTo>
                  <a:pt x="574548" y="80263"/>
                </a:lnTo>
                <a:lnTo>
                  <a:pt x="574421" y="66039"/>
                </a:lnTo>
                <a:lnTo>
                  <a:pt x="576834" y="60070"/>
                </a:lnTo>
                <a:lnTo>
                  <a:pt x="581787" y="54990"/>
                </a:lnTo>
                <a:lnTo>
                  <a:pt x="586866" y="49910"/>
                </a:lnTo>
                <a:lnTo>
                  <a:pt x="592836" y="47624"/>
                </a:lnTo>
                <a:lnTo>
                  <a:pt x="599821" y="47878"/>
                </a:lnTo>
                <a:lnTo>
                  <a:pt x="606678" y="48132"/>
                </a:lnTo>
                <a:lnTo>
                  <a:pt x="613283" y="51307"/>
                </a:lnTo>
                <a:lnTo>
                  <a:pt x="619505" y="57657"/>
                </a:lnTo>
                <a:lnTo>
                  <a:pt x="625983" y="64134"/>
                </a:lnTo>
                <a:lnTo>
                  <a:pt x="629412" y="70865"/>
                </a:lnTo>
                <a:lnTo>
                  <a:pt x="629920" y="77977"/>
                </a:lnTo>
                <a:lnTo>
                  <a:pt x="630301" y="85216"/>
                </a:lnTo>
                <a:lnTo>
                  <a:pt x="628141" y="91058"/>
                </a:lnTo>
                <a:lnTo>
                  <a:pt x="623442" y="95757"/>
                </a:lnTo>
                <a:lnTo>
                  <a:pt x="620267" y="98932"/>
                </a:lnTo>
                <a:lnTo>
                  <a:pt x="616330" y="101091"/>
                </a:lnTo>
                <a:lnTo>
                  <a:pt x="611504" y="102234"/>
                </a:lnTo>
                <a:lnTo>
                  <a:pt x="606805" y="103250"/>
                </a:lnTo>
                <a:lnTo>
                  <a:pt x="601852" y="102869"/>
                </a:lnTo>
                <a:lnTo>
                  <a:pt x="596773" y="101091"/>
                </a:lnTo>
                <a:lnTo>
                  <a:pt x="591692" y="99186"/>
                </a:lnTo>
                <a:lnTo>
                  <a:pt x="589880" y="114848"/>
                </a:lnTo>
                <a:lnTo>
                  <a:pt x="599948" y="117093"/>
                </a:lnTo>
                <a:lnTo>
                  <a:pt x="610581" y="116661"/>
                </a:lnTo>
                <a:close/>
              </a:path>
              <a:path w="645033" h="661301">
                <a:moveTo>
                  <a:pt x="591692" y="99186"/>
                </a:moveTo>
                <a:lnTo>
                  <a:pt x="587248" y="96265"/>
                </a:lnTo>
                <a:lnTo>
                  <a:pt x="583438" y="92455"/>
                </a:lnTo>
                <a:lnTo>
                  <a:pt x="577596" y="86613"/>
                </a:lnTo>
                <a:lnTo>
                  <a:pt x="574548" y="80263"/>
                </a:lnTo>
                <a:lnTo>
                  <a:pt x="579199" y="109680"/>
                </a:lnTo>
                <a:lnTo>
                  <a:pt x="589880" y="114848"/>
                </a:lnTo>
                <a:lnTo>
                  <a:pt x="591692" y="99186"/>
                </a:lnTo>
                <a:close/>
              </a:path>
              <a:path w="645033" h="661301">
                <a:moveTo>
                  <a:pt x="561339" y="176148"/>
                </a:moveTo>
                <a:lnTo>
                  <a:pt x="567944" y="169544"/>
                </a:lnTo>
                <a:lnTo>
                  <a:pt x="571626" y="162305"/>
                </a:lnTo>
                <a:lnTo>
                  <a:pt x="572388" y="154431"/>
                </a:lnTo>
                <a:lnTo>
                  <a:pt x="572424" y="154047"/>
                </a:lnTo>
                <a:lnTo>
                  <a:pt x="571583" y="142117"/>
                </a:lnTo>
                <a:lnTo>
                  <a:pt x="567054" y="129539"/>
                </a:lnTo>
                <a:lnTo>
                  <a:pt x="562245" y="121393"/>
                </a:lnTo>
                <a:lnTo>
                  <a:pt x="554598" y="111391"/>
                </a:lnTo>
                <a:lnTo>
                  <a:pt x="544702" y="100710"/>
                </a:lnTo>
                <a:lnTo>
                  <a:pt x="540420" y="96537"/>
                </a:lnTo>
                <a:lnTo>
                  <a:pt x="530247" y="87645"/>
                </a:lnTo>
                <a:lnTo>
                  <a:pt x="521335" y="81406"/>
                </a:lnTo>
                <a:lnTo>
                  <a:pt x="514730" y="77469"/>
                </a:lnTo>
                <a:lnTo>
                  <a:pt x="508380" y="74802"/>
                </a:lnTo>
                <a:lnTo>
                  <a:pt x="502285" y="73532"/>
                </a:lnTo>
                <a:lnTo>
                  <a:pt x="496188" y="72262"/>
                </a:lnTo>
                <a:lnTo>
                  <a:pt x="490347" y="72516"/>
                </a:lnTo>
                <a:lnTo>
                  <a:pt x="484759" y="74167"/>
                </a:lnTo>
                <a:lnTo>
                  <a:pt x="479171" y="75818"/>
                </a:lnTo>
                <a:lnTo>
                  <a:pt x="473963" y="79120"/>
                </a:lnTo>
                <a:lnTo>
                  <a:pt x="469138" y="83946"/>
                </a:lnTo>
                <a:lnTo>
                  <a:pt x="462534" y="90550"/>
                </a:lnTo>
                <a:lnTo>
                  <a:pt x="458850" y="97789"/>
                </a:lnTo>
                <a:lnTo>
                  <a:pt x="458088" y="105663"/>
                </a:lnTo>
                <a:lnTo>
                  <a:pt x="458066" y="105906"/>
                </a:lnTo>
                <a:lnTo>
                  <a:pt x="458814" y="117887"/>
                </a:lnTo>
                <a:lnTo>
                  <a:pt x="463296" y="130428"/>
                </a:lnTo>
                <a:lnTo>
                  <a:pt x="468208" y="138810"/>
                </a:lnTo>
                <a:lnTo>
                  <a:pt x="475854" y="148813"/>
                </a:lnTo>
                <a:lnTo>
                  <a:pt x="475535" y="120722"/>
                </a:lnTo>
                <a:lnTo>
                  <a:pt x="472439" y="111886"/>
                </a:lnTo>
                <a:lnTo>
                  <a:pt x="471170" y="104647"/>
                </a:lnTo>
                <a:lnTo>
                  <a:pt x="473075" y="98424"/>
                </a:lnTo>
                <a:lnTo>
                  <a:pt x="478154" y="93344"/>
                </a:lnTo>
                <a:lnTo>
                  <a:pt x="483362" y="88137"/>
                </a:lnTo>
                <a:lnTo>
                  <a:pt x="490092" y="86232"/>
                </a:lnTo>
                <a:lnTo>
                  <a:pt x="498475" y="87629"/>
                </a:lnTo>
                <a:lnTo>
                  <a:pt x="510138" y="92582"/>
                </a:lnTo>
                <a:lnTo>
                  <a:pt x="520831" y="100494"/>
                </a:lnTo>
                <a:lnTo>
                  <a:pt x="533273" y="112013"/>
                </a:lnTo>
                <a:lnTo>
                  <a:pt x="537628" y="116514"/>
                </a:lnTo>
                <a:lnTo>
                  <a:pt x="547844" y="128349"/>
                </a:lnTo>
                <a:lnTo>
                  <a:pt x="554520" y="138441"/>
                </a:lnTo>
                <a:lnTo>
                  <a:pt x="557657" y="146811"/>
                </a:lnTo>
                <a:lnTo>
                  <a:pt x="559053" y="155193"/>
                </a:lnTo>
                <a:lnTo>
                  <a:pt x="557276" y="161924"/>
                </a:lnTo>
                <a:lnTo>
                  <a:pt x="552196" y="167004"/>
                </a:lnTo>
                <a:lnTo>
                  <a:pt x="550655" y="184042"/>
                </a:lnTo>
                <a:lnTo>
                  <a:pt x="561339" y="176148"/>
                </a:lnTo>
                <a:close/>
              </a:path>
              <a:path w="645033" h="661301">
                <a:moveTo>
                  <a:pt x="491236" y="246252"/>
                </a:moveTo>
                <a:lnTo>
                  <a:pt x="497839" y="239648"/>
                </a:lnTo>
                <a:lnTo>
                  <a:pt x="501523" y="232409"/>
                </a:lnTo>
                <a:lnTo>
                  <a:pt x="502285" y="224408"/>
                </a:lnTo>
                <a:lnTo>
                  <a:pt x="502310" y="224135"/>
                </a:lnTo>
                <a:lnTo>
                  <a:pt x="501491" y="212169"/>
                </a:lnTo>
                <a:lnTo>
                  <a:pt x="496950" y="199643"/>
                </a:lnTo>
                <a:lnTo>
                  <a:pt x="492130" y="191441"/>
                </a:lnTo>
                <a:lnTo>
                  <a:pt x="484526" y="181432"/>
                </a:lnTo>
                <a:lnTo>
                  <a:pt x="474599" y="170687"/>
                </a:lnTo>
                <a:lnTo>
                  <a:pt x="470359" y="166558"/>
                </a:lnTo>
                <a:lnTo>
                  <a:pt x="460182" y="157661"/>
                </a:lnTo>
                <a:lnTo>
                  <a:pt x="451230" y="151383"/>
                </a:lnTo>
                <a:lnTo>
                  <a:pt x="444626" y="147446"/>
                </a:lnTo>
                <a:lnTo>
                  <a:pt x="438276" y="144906"/>
                </a:lnTo>
                <a:lnTo>
                  <a:pt x="432180" y="143636"/>
                </a:lnTo>
                <a:lnTo>
                  <a:pt x="426212" y="142366"/>
                </a:lnTo>
                <a:lnTo>
                  <a:pt x="420370" y="142493"/>
                </a:lnTo>
                <a:lnTo>
                  <a:pt x="414782" y="144271"/>
                </a:lnTo>
                <a:lnTo>
                  <a:pt x="409194" y="145922"/>
                </a:lnTo>
                <a:lnTo>
                  <a:pt x="403987" y="149224"/>
                </a:lnTo>
                <a:lnTo>
                  <a:pt x="399034" y="154050"/>
                </a:lnTo>
                <a:lnTo>
                  <a:pt x="392557" y="160654"/>
                </a:lnTo>
                <a:lnTo>
                  <a:pt x="388874" y="167766"/>
                </a:lnTo>
                <a:lnTo>
                  <a:pt x="387985" y="175640"/>
                </a:lnTo>
                <a:lnTo>
                  <a:pt x="387949" y="176025"/>
                </a:lnTo>
                <a:lnTo>
                  <a:pt x="388790" y="187955"/>
                </a:lnTo>
                <a:lnTo>
                  <a:pt x="393319" y="200532"/>
                </a:lnTo>
                <a:lnTo>
                  <a:pt x="398231" y="208858"/>
                </a:lnTo>
                <a:lnTo>
                  <a:pt x="405877" y="218887"/>
                </a:lnTo>
                <a:lnTo>
                  <a:pt x="405563" y="190763"/>
                </a:lnTo>
                <a:lnTo>
                  <a:pt x="402463" y="181990"/>
                </a:lnTo>
                <a:lnTo>
                  <a:pt x="401192" y="174624"/>
                </a:lnTo>
                <a:lnTo>
                  <a:pt x="403098" y="168401"/>
                </a:lnTo>
                <a:lnTo>
                  <a:pt x="408177" y="163321"/>
                </a:lnTo>
                <a:lnTo>
                  <a:pt x="413258" y="158114"/>
                </a:lnTo>
                <a:lnTo>
                  <a:pt x="420115" y="156336"/>
                </a:lnTo>
                <a:lnTo>
                  <a:pt x="428371" y="157733"/>
                </a:lnTo>
                <a:lnTo>
                  <a:pt x="431134" y="158401"/>
                </a:lnTo>
                <a:lnTo>
                  <a:pt x="440128" y="162716"/>
                </a:lnTo>
                <a:lnTo>
                  <a:pt x="450855" y="170622"/>
                </a:lnTo>
                <a:lnTo>
                  <a:pt x="463296" y="182117"/>
                </a:lnTo>
                <a:lnTo>
                  <a:pt x="467589" y="186522"/>
                </a:lnTo>
                <a:lnTo>
                  <a:pt x="477830" y="198361"/>
                </a:lnTo>
                <a:lnTo>
                  <a:pt x="484491" y="208506"/>
                </a:lnTo>
                <a:lnTo>
                  <a:pt x="487552" y="216915"/>
                </a:lnTo>
                <a:lnTo>
                  <a:pt x="489076" y="225297"/>
                </a:lnTo>
                <a:lnTo>
                  <a:pt x="487172" y="232028"/>
                </a:lnTo>
                <a:lnTo>
                  <a:pt x="482091" y="237108"/>
                </a:lnTo>
                <a:lnTo>
                  <a:pt x="480588" y="254057"/>
                </a:lnTo>
                <a:lnTo>
                  <a:pt x="491236" y="246252"/>
                </a:lnTo>
                <a:close/>
              </a:path>
              <a:path w="645033" h="661301">
                <a:moveTo>
                  <a:pt x="245491" y="491896"/>
                </a:moveTo>
                <a:lnTo>
                  <a:pt x="252094" y="485292"/>
                </a:lnTo>
                <a:lnTo>
                  <a:pt x="255905" y="478053"/>
                </a:lnTo>
                <a:lnTo>
                  <a:pt x="256667" y="470166"/>
                </a:lnTo>
                <a:lnTo>
                  <a:pt x="256698" y="469826"/>
                </a:lnTo>
                <a:lnTo>
                  <a:pt x="255866" y="457872"/>
                </a:lnTo>
                <a:lnTo>
                  <a:pt x="251332" y="445325"/>
                </a:lnTo>
                <a:lnTo>
                  <a:pt x="246502" y="437123"/>
                </a:lnTo>
                <a:lnTo>
                  <a:pt x="238862" y="427118"/>
                </a:lnTo>
                <a:lnTo>
                  <a:pt x="228981" y="416420"/>
                </a:lnTo>
                <a:lnTo>
                  <a:pt x="224704" y="412277"/>
                </a:lnTo>
                <a:lnTo>
                  <a:pt x="214528" y="403377"/>
                </a:lnTo>
                <a:lnTo>
                  <a:pt x="205612" y="397128"/>
                </a:lnTo>
                <a:lnTo>
                  <a:pt x="198881" y="393204"/>
                </a:lnTo>
                <a:lnTo>
                  <a:pt x="192531" y="390601"/>
                </a:lnTo>
                <a:lnTo>
                  <a:pt x="186562" y="389305"/>
                </a:lnTo>
                <a:lnTo>
                  <a:pt x="180467" y="388010"/>
                </a:lnTo>
                <a:lnTo>
                  <a:pt x="174625" y="388213"/>
                </a:lnTo>
                <a:lnTo>
                  <a:pt x="169037" y="389915"/>
                </a:lnTo>
                <a:lnTo>
                  <a:pt x="163449" y="391629"/>
                </a:lnTo>
                <a:lnTo>
                  <a:pt x="158242" y="394893"/>
                </a:lnTo>
                <a:lnTo>
                  <a:pt x="153416" y="399745"/>
                </a:lnTo>
                <a:lnTo>
                  <a:pt x="146812" y="406311"/>
                </a:lnTo>
                <a:lnTo>
                  <a:pt x="143129" y="413524"/>
                </a:lnTo>
                <a:lnTo>
                  <a:pt x="142367" y="421385"/>
                </a:lnTo>
                <a:lnTo>
                  <a:pt x="142327" y="421755"/>
                </a:lnTo>
                <a:lnTo>
                  <a:pt x="143059" y="433677"/>
                </a:lnTo>
                <a:lnTo>
                  <a:pt x="147574" y="446227"/>
                </a:lnTo>
                <a:lnTo>
                  <a:pt x="152478" y="454561"/>
                </a:lnTo>
                <a:lnTo>
                  <a:pt x="160127" y="464566"/>
                </a:lnTo>
                <a:lnTo>
                  <a:pt x="159812" y="436471"/>
                </a:lnTo>
                <a:lnTo>
                  <a:pt x="156718" y="427685"/>
                </a:lnTo>
                <a:lnTo>
                  <a:pt x="155448" y="420344"/>
                </a:lnTo>
                <a:lnTo>
                  <a:pt x="157352" y="414121"/>
                </a:lnTo>
                <a:lnTo>
                  <a:pt x="162432" y="409041"/>
                </a:lnTo>
                <a:lnTo>
                  <a:pt x="167639" y="403859"/>
                </a:lnTo>
                <a:lnTo>
                  <a:pt x="174370" y="401993"/>
                </a:lnTo>
                <a:lnTo>
                  <a:pt x="182752" y="403402"/>
                </a:lnTo>
                <a:lnTo>
                  <a:pt x="194368" y="408379"/>
                </a:lnTo>
                <a:lnTo>
                  <a:pt x="205089" y="416295"/>
                </a:lnTo>
                <a:lnTo>
                  <a:pt x="217550" y="427812"/>
                </a:lnTo>
                <a:lnTo>
                  <a:pt x="221880" y="432264"/>
                </a:lnTo>
                <a:lnTo>
                  <a:pt x="232110" y="444081"/>
                </a:lnTo>
                <a:lnTo>
                  <a:pt x="238795" y="454183"/>
                </a:lnTo>
                <a:lnTo>
                  <a:pt x="241935" y="462572"/>
                </a:lnTo>
                <a:lnTo>
                  <a:pt x="243331" y="470954"/>
                </a:lnTo>
                <a:lnTo>
                  <a:pt x="241554" y="477697"/>
                </a:lnTo>
                <a:lnTo>
                  <a:pt x="236474" y="482790"/>
                </a:lnTo>
                <a:lnTo>
                  <a:pt x="234893" y="499761"/>
                </a:lnTo>
                <a:lnTo>
                  <a:pt x="245491" y="49189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4" name="object 194"/>
          <p:cNvSpPr/>
          <p:nvPr/>
        </p:nvSpPr>
        <p:spPr>
          <a:xfrm>
            <a:off x="3517138" y="3949676"/>
            <a:ext cx="625094" cy="505941"/>
          </a:xfrm>
          <a:custGeom>
            <a:avLst/>
            <a:gdLst/>
            <a:ahLst/>
            <a:cxnLst/>
            <a:rect l="l" t="t" r="r" b="b"/>
            <a:pathLst>
              <a:path w="625094" h="675525">
                <a:moveTo>
                  <a:pt x="132714" y="615861"/>
                </a:moveTo>
                <a:lnTo>
                  <a:pt x="122047" y="605218"/>
                </a:lnTo>
                <a:lnTo>
                  <a:pt x="77724" y="649477"/>
                </a:lnTo>
                <a:lnTo>
                  <a:pt x="76962" y="646239"/>
                </a:lnTo>
                <a:lnTo>
                  <a:pt x="76581" y="642683"/>
                </a:lnTo>
                <a:lnTo>
                  <a:pt x="76453" y="638797"/>
                </a:lnTo>
                <a:lnTo>
                  <a:pt x="76326" y="634923"/>
                </a:lnTo>
                <a:lnTo>
                  <a:pt x="76835" y="626871"/>
                </a:lnTo>
                <a:lnTo>
                  <a:pt x="77850" y="614641"/>
                </a:lnTo>
                <a:lnTo>
                  <a:pt x="78590" y="605049"/>
                </a:lnTo>
                <a:lnTo>
                  <a:pt x="79215" y="591715"/>
                </a:lnTo>
                <a:lnTo>
                  <a:pt x="79121" y="581672"/>
                </a:lnTo>
                <a:lnTo>
                  <a:pt x="78612" y="574382"/>
                </a:lnTo>
                <a:lnTo>
                  <a:pt x="77470" y="568261"/>
                </a:lnTo>
                <a:lnTo>
                  <a:pt x="75437" y="563295"/>
                </a:lnTo>
                <a:lnTo>
                  <a:pt x="73406" y="558330"/>
                </a:lnTo>
                <a:lnTo>
                  <a:pt x="70612" y="554037"/>
                </a:lnTo>
                <a:lnTo>
                  <a:pt x="67056" y="550430"/>
                </a:lnTo>
                <a:lnTo>
                  <a:pt x="65251" y="548731"/>
                </a:lnTo>
                <a:lnTo>
                  <a:pt x="54270" y="542121"/>
                </a:lnTo>
                <a:lnTo>
                  <a:pt x="41528" y="540143"/>
                </a:lnTo>
                <a:lnTo>
                  <a:pt x="36478" y="540651"/>
                </a:lnTo>
                <a:lnTo>
                  <a:pt x="24862" y="544922"/>
                </a:lnTo>
                <a:lnTo>
                  <a:pt x="13842" y="553504"/>
                </a:lnTo>
                <a:lnTo>
                  <a:pt x="9850" y="557846"/>
                </a:lnTo>
                <a:lnTo>
                  <a:pt x="2850" y="569014"/>
                </a:lnTo>
                <a:lnTo>
                  <a:pt x="0" y="580682"/>
                </a:lnTo>
                <a:lnTo>
                  <a:pt x="42" y="585573"/>
                </a:lnTo>
                <a:lnTo>
                  <a:pt x="3197" y="597309"/>
                </a:lnTo>
                <a:lnTo>
                  <a:pt x="10667" y="608914"/>
                </a:lnTo>
                <a:lnTo>
                  <a:pt x="23113" y="598690"/>
                </a:lnTo>
                <a:lnTo>
                  <a:pt x="17525" y="592988"/>
                </a:lnTo>
                <a:lnTo>
                  <a:pt x="14732" y="586930"/>
                </a:lnTo>
                <a:lnTo>
                  <a:pt x="14732" y="574128"/>
                </a:lnTo>
                <a:lnTo>
                  <a:pt x="17399" y="568261"/>
                </a:lnTo>
                <a:lnTo>
                  <a:pt x="22733" y="562927"/>
                </a:lnTo>
                <a:lnTo>
                  <a:pt x="27812" y="557872"/>
                </a:lnTo>
                <a:lnTo>
                  <a:pt x="33400" y="555282"/>
                </a:lnTo>
                <a:lnTo>
                  <a:pt x="45720" y="555040"/>
                </a:lnTo>
                <a:lnTo>
                  <a:pt x="50926" y="557174"/>
                </a:lnTo>
                <a:lnTo>
                  <a:pt x="55372" y="561568"/>
                </a:lnTo>
                <a:lnTo>
                  <a:pt x="59562" y="565759"/>
                </a:lnTo>
                <a:lnTo>
                  <a:pt x="62229" y="571919"/>
                </a:lnTo>
                <a:lnTo>
                  <a:pt x="63500" y="580072"/>
                </a:lnTo>
                <a:lnTo>
                  <a:pt x="64274" y="590444"/>
                </a:lnTo>
                <a:lnTo>
                  <a:pt x="63987" y="603225"/>
                </a:lnTo>
                <a:lnTo>
                  <a:pt x="62737" y="619074"/>
                </a:lnTo>
                <a:lnTo>
                  <a:pt x="62421" y="622463"/>
                </a:lnTo>
                <a:lnTo>
                  <a:pt x="61658" y="636124"/>
                </a:lnTo>
                <a:lnTo>
                  <a:pt x="61975" y="647230"/>
                </a:lnTo>
                <a:lnTo>
                  <a:pt x="62484" y="654519"/>
                </a:lnTo>
                <a:lnTo>
                  <a:pt x="64135" y="660958"/>
                </a:lnTo>
                <a:lnTo>
                  <a:pt x="66675" y="666534"/>
                </a:lnTo>
                <a:lnTo>
                  <a:pt x="68199" y="669937"/>
                </a:lnTo>
                <a:lnTo>
                  <a:pt x="70231" y="672934"/>
                </a:lnTo>
                <a:lnTo>
                  <a:pt x="73025" y="675525"/>
                </a:lnTo>
                <a:lnTo>
                  <a:pt x="132714" y="615861"/>
                </a:lnTo>
                <a:close/>
              </a:path>
              <a:path w="625094" h="675525">
                <a:moveTo>
                  <a:pt x="164855" y="584009"/>
                </a:moveTo>
                <a:lnTo>
                  <a:pt x="166370" y="567054"/>
                </a:lnTo>
                <a:lnTo>
                  <a:pt x="161289" y="572147"/>
                </a:lnTo>
                <a:lnTo>
                  <a:pt x="154559" y="573976"/>
                </a:lnTo>
                <a:lnTo>
                  <a:pt x="146176" y="572541"/>
                </a:lnTo>
                <a:lnTo>
                  <a:pt x="143476" y="571882"/>
                </a:lnTo>
                <a:lnTo>
                  <a:pt x="134513" y="567561"/>
                </a:lnTo>
                <a:lnTo>
                  <a:pt x="123820" y="559653"/>
                </a:lnTo>
                <a:lnTo>
                  <a:pt x="111378" y="548157"/>
                </a:lnTo>
                <a:lnTo>
                  <a:pt x="105869" y="542467"/>
                </a:lnTo>
                <a:lnTo>
                  <a:pt x="96128" y="530915"/>
                </a:lnTo>
                <a:lnTo>
                  <a:pt x="89709" y="520745"/>
                </a:lnTo>
                <a:lnTo>
                  <a:pt x="90023" y="548836"/>
                </a:lnTo>
                <a:lnTo>
                  <a:pt x="99949" y="559549"/>
                </a:lnTo>
                <a:lnTo>
                  <a:pt x="102403" y="561953"/>
                </a:lnTo>
                <a:lnTo>
                  <a:pt x="114101" y="572214"/>
                </a:lnTo>
                <a:lnTo>
                  <a:pt x="125176" y="579859"/>
                </a:lnTo>
                <a:lnTo>
                  <a:pt x="135649" y="584891"/>
                </a:lnTo>
                <a:lnTo>
                  <a:pt x="145541" y="587311"/>
                </a:lnTo>
                <a:lnTo>
                  <a:pt x="153091" y="587400"/>
                </a:lnTo>
                <a:lnTo>
                  <a:pt x="164855" y="584009"/>
                </a:lnTo>
                <a:close/>
              </a:path>
              <a:path w="625094" h="675525">
                <a:moveTo>
                  <a:pt x="175965" y="472414"/>
                </a:moveTo>
                <a:lnTo>
                  <a:pt x="166228" y="460863"/>
                </a:lnTo>
                <a:lnTo>
                  <a:pt x="159812" y="450695"/>
                </a:lnTo>
                <a:lnTo>
                  <a:pt x="156717" y="441909"/>
                </a:lnTo>
                <a:lnTo>
                  <a:pt x="160127" y="478790"/>
                </a:lnTo>
                <a:lnTo>
                  <a:pt x="170052" y="489508"/>
                </a:lnTo>
                <a:lnTo>
                  <a:pt x="172490" y="491911"/>
                </a:lnTo>
                <a:lnTo>
                  <a:pt x="184149" y="502168"/>
                </a:lnTo>
                <a:lnTo>
                  <a:pt x="175965" y="472414"/>
                </a:lnTo>
                <a:close/>
              </a:path>
              <a:path w="625094" h="675525">
                <a:moveTo>
                  <a:pt x="234858" y="513985"/>
                </a:moveTo>
                <a:lnTo>
                  <a:pt x="245490" y="506120"/>
                </a:lnTo>
                <a:lnTo>
                  <a:pt x="252095" y="499516"/>
                </a:lnTo>
                <a:lnTo>
                  <a:pt x="255777" y="492277"/>
                </a:lnTo>
                <a:lnTo>
                  <a:pt x="256539" y="484390"/>
                </a:lnTo>
                <a:lnTo>
                  <a:pt x="256583" y="483988"/>
                </a:lnTo>
                <a:lnTo>
                  <a:pt x="255827" y="472063"/>
                </a:lnTo>
                <a:lnTo>
                  <a:pt x="251206" y="459549"/>
                </a:lnTo>
                <a:lnTo>
                  <a:pt x="246399" y="451347"/>
                </a:lnTo>
                <a:lnTo>
                  <a:pt x="238791" y="441342"/>
                </a:lnTo>
                <a:lnTo>
                  <a:pt x="228853" y="430644"/>
                </a:lnTo>
                <a:lnTo>
                  <a:pt x="224620" y="426501"/>
                </a:lnTo>
                <a:lnTo>
                  <a:pt x="214440" y="417601"/>
                </a:lnTo>
                <a:lnTo>
                  <a:pt x="205486" y="411352"/>
                </a:lnTo>
                <a:lnTo>
                  <a:pt x="198882" y="407428"/>
                </a:lnTo>
                <a:lnTo>
                  <a:pt x="192532" y="404825"/>
                </a:lnTo>
                <a:lnTo>
                  <a:pt x="186562" y="403529"/>
                </a:lnTo>
                <a:lnTo>
                  <a:pt x="180466" y="402234"/>
                </a:lnTo>
                <a:lnTo>
                  <a:pt x="174625" y="402437"/>
                </a:lnTo>
                <a:lnTo>
                  <a:pt x="169037" y="404139"/>
                </a:lnTo>
                <a:lnTo>
                  <a:pt x="163449" y="405853"/>
                </a:lnTo>
                <a:lnTo>
                  <a:pt x="158241" y="409117"/>
                </a:lnTo>
                <a:lnTo>
                  <a:pt x="153288" y="413969"/>
                </a:lnTo>
                <a:lnTo>
                  <a:pt x="146812" y="420535"/>
                </a:lnTo>
                <a:lnTo>
                  <a:pt x="143128" y="427748"/>
                </a:lnTo>
                <a:lnTo>
                  <a:pt x="142239" y="435609"/>
                </a:lnTo>
                <a:lnTo>
                  <a:pt x="142208" y="435948"/>
                </a:lnTo>
                <a:lnTo>
                  <a:pt x="143040" y="447885"/>
                </a:lnTo>
                <a:lnTo>
                  <a:pt x="147574" y="460451"/>
                </a:lnTo>
                <a:lnTo>
                  <a:pt x="152478" y="468785"/>
                </a:lnTo>
                <a:lnTo>
                  <a:pt x="160127" y="478790"/>
                </a:lnTo>
                <a:lnTo>
                  <a:pt x="156717" y="441909"/>
                </a:lnTo>
                <a:lnTo>
                  <a:pt x="155448" y="434568"/>
                </a:lnTo>
                <a:lnTo>
                  <a:pt x="157352" y="428345"/>
                </a:lnTo>
                <a:lnTo>
                  <a:pt x="162433" y="423265"/>
                </a:lnTo>
                <a:lnTo>
                  <a:pt x="167512" y="418083"/>
                </a:lnTo>
                <a:lnTo>
                  <a:pt x="174371" y="416217"/>
                </a:lnTo>
                <a:lnTo>
                  <a:pt x="182625" y="417626"/>
                </a:lnTo>
                <a:lnTo>
                  <a:pt x="194389" y="422633"/>
                </a:lnTo>
                <a:lnTo>
                  <a:pt x="205114" y="430543"/>
                </a:lnTo>
                <a:lnTo>
                  <a:pt x="217550" y="442036"/>
                </a:lnTo>
                <a:lnTo>
                  <a:pt x="221818" y="446423"/>
                </a:lnTo>
                <a:lnTo>
                  <a:pt x="232072" y="458268"/>
                </a:lnTo>
                <a:lnTo>
                  <a:pt x="238742" y="468391"/>
                </a:lnTo>
                <a:lnTo>
                  <a:pt x="241808" y="476796"/>
                </a:lnTo>
                <a:lnTo>
                  <a:pt x="243332" y="485178"/>
                </a:lnTo>
                <a:lnTo>
                  <a:pt x="241426" y="491921"/>
                </a:lnTo>
                <a:lnTo>
                  <a:pt x="236347" y="497014"/>
                </a:lnTo>
                <a:lnTo>
                  <a:pt x="231266" y="502107"/>
                </a:lnTo>
                <a:lnTo>
                  <a:pt x="224536" y="503935"/>
                </a:lnTo>
                <a:lnTo>
                  <a:pt x="216153" y="502488"/>
                </a:lnTo>
                <a:lnTo>
                  <a:pt x="204550" y="497540"/>
                </a:lnTo>
                <a:lnTo>
                  <a:pt x="193871" y="489629"/>
                </a:lnTo>
                <a:lnTo>
                  <a:pt x="181483" y="478116"/>
                </a:lnTo>
                <a:lnTo>
                  <a:pt x="175965" y="472414"/>
                </a:lnTo>
                <a:lnTo>
                  <a:pt x="184149" y="502168"/>
                </a:lnTo>
                <a:lnTo>
                  <a:pt x="195235" y="509814"/>
                </a:lnTo>
                <a:lnTo>
                  <a:pt x="205737" y="514849"/>
                </a:lnTo>
                <a:lnTo>
                  <a:pt x="215646" y="517270"/>
                </a:lnTo>
                <a:lnTo>
                  <a:pt x="223059" y="517367"/>
                </a:lnTo>
                <a:lnTo>
                  <a:pt x="234858" y="513985"/>
                </a:lnTo>
                <a:close/>
              </a:path>
              <a:path w="625094" h="675525">
                <a:moveTo>
                  <a:pt x="258825" y="410197"/>
                </a:moveTo>
                <a:lnTo>
                  <a:pt x="258572" y="396036"/>
                </a:lnTo>
                <a:lnTo>
                  <a:pt x="254253" y="377202"/>
                </a:lnTo>
                <a:lnTo>
                  <a:pt x="251206" y="382231"/>
                </a:lnTo>
                <a:lnTo>
                  <a:pt x="249300" y="388061"/>
                </a:lnTo>
                <a:lnTo>
                  <a:pt x="247396" y="393890"/>
                </a:lnTo>
                <a:lnTo>
                  <a:pt x="247141" y="400164"/>
                </a:lnTo>
                <a:lnTo>
                  <a:pt x="248538" y="406895"/>
                </a:lnTo>
                <a:lnTo>
                  <a:pt x="244796" y="402937"/>
                </a:lnTo>
                <a:lnTo>
                  <a:pt x="236169" y="392312"/>
                </a:lnTo>
                <a:lnTo>
                  <a:pt x="230886" y="382892"/>
                </a:lnTo>
                <a:lnTo>
                  <a:pt x="227964" y="375996"/>
                </a:lnTo>
                <a:lnTo>
                  <a:pt x="226949" y="369531"/>
                </a:lnTo>
                <a:lnTo>
                  <a:pt x="227964" y="363499"/>
                </a:lnTo>
                <a:lnTo>
                  <a:pt x="228600" y="358863"/>
                </a:lnTo>
                <a:lnTo>
                  <a:pt x="230759" y="354774"/>
                </a:lnTo>
                <a:lnTo>
                  <a:pt x="234314" y="351243"/>
                </a:lnTo>
                <a:lnTo>
                  <a:pt x="238633" y="346849"/>
                </a:lnTo>
                <a:lnTo>
                  <a:pt x="243966" y="344741"/>
                </a:lnTo>
                <a:lnTo>
                  <a:pt x="250062" y="344906"/>
                </a:lnTo>
                <a:lnTo>
                  <a:pt x="253873" y="345071"/>
                </a:lnTo>
                <a:lnTo>
                  <a:pt x="258445" y="346836"/>
                </a:lnTo>
                <a:lnTo>
                  <a:pt x="263778" y="350202"/>
                </a:lnTo>
                <a:lnTo>
                  <a:pt x="273938" y="338315"/>
                </a:lnTo>
                <a:lnTo>
                  <a:pt x="273057" y="337646"/>
                </a:lnTo>
                <a:lnTo>
                  <a:pt x="261398" y="331495"/>
                </a:lnTo>
                <a:lnTo>
                  <a:pt x="249300" y="329971"/>
                </a:lnTo>
                <a:lnTo>
                  <a:pt x="248570" y="330027"/>
                </a:lnTo>
                <a:lnTo>
                  <a:pt x="236692" y="333425"/>
                </a:lnTo>
                <a:lnTo>
                  <a:pt x="225806" y="341452"/>
                </a:lnTo>
                <a:lnTo>
                  <a:pt x="218719" y="350403"/>
                </a:lnTo>
                <a:lnTo>
                  <a:pt x="214122" y="361908"/>
                </a:lnTo>
                <a:lnTo>
                  <a:pt x="213487" y="374510"/>
                </a:lnTo>
                <a:lnTo>
                  <a:pt x="214041" y="378185"/>
                </a:lnTo>
                <a:lnTo>
                  <a:pt x="217242" y="388473"/>
                </a:lnTo>
                <a:lnTo>
                  <a:pt x="222931" y="399242"/>
                </a:lnTo>
                <a:lnTo>
                  <a:pt x="231116" y="410492"/>
                </a:lnTo>
                <a:lnTo>
                  <a:pt x="241808" y="422224"/>
                </a:lnTo>
                <a:lnTo>
                  <a:pt x="252118" y="431637"/>
                </a:lnTo>
                <a:lnTo>
                  <a:pt x="258825" y="410197"/>
                </a:lnTo>
                <a:close/>
              </a:path>
              <a:path w="625094" h="675525">
                <a:moveTo>
                  <a:pt x="294738" y="446621"/>
                </a:moveTo>
                <a:lnTo>
                  <a:pt x="306489" y="442575"/>
                </a:lnTo>
                <a:lnTo>
                  <a:pt x="316991" y="434670"/>
                </a:lnTo>
                <a:lnTo>
                  <a:pt x="322325" y="429247"/>
                </a:lnTo>
                <a:lnTo>
                  <a:pt x="325882" y="423113"/>
                </a:lnTo>
                <a:lnTo>
                  <a:pt x="327660" y="416255"/>
                </a:lnTo>
                <a:lnTo>
                  <a:pt x="329311" y="409397"/>
                </a:lnTo>
                <a:lnTo>
                  <a:pt x="328929" y="402323"/>
                </a:lnTo>
                <a:lnTo>
                  <a:pt x="326516" y="395020"/>
                </a:lnTo>
                <a:lnTo>
                  <a:pt x="324103" y="387705"/>
                </a:lnTo>
                <a:lnTo>
                  <a:pt x="320039" y="381228"/>
                </a:lnTo>
                <a:lnTo>
                  <a:pt x="314325" y="375564"/>
                </a:lnTo>
                <a:lnTo>
                  <a:pt x="309084" y="370894"/>
                </a:lnTo>
                <a:lnTo>
                  <a:pt x="297802" y="364569"/>
                </a:lnTo>
                <a:lnTo>
                  <a:pt x="285496" y="362267"/>
                </a:lnTo>
                <a:lnTo>
                  <a:pt x="281338" y="362368"/>
                </a:lnTo>
                <a:lnTo>
                  <a:pt x="268960" y="365519"/>
                </a:lnTo>
                <a:lnTo>
                  <a:pt x="258445" y="372973"/>
                </a:lnTo>
                <a:lnTo>
                  <a:pt x="254253" y="377202"/>
                </a:lnTo>
                <a:lnTo>
                  <a:pt x="258572" y="396036"/>
                </a:lnTo>
                <a:lnTo>
                  <a:pt x="261112" y="389991"/>
                </a:lnTo>
                <a:lnTo>
                  <a:pt x="266064" y="384987"/>
                </a:lnTo>
                <a:lnTo>
                  <a:pt x="271145" y="379933"/>
                </a:lnTo>
                <a:lnTo>
                  <a:pt x="277113" y="377545"/>
                </a:lnTo>
                <a:lnTo>
                  <a:pt x="283972" y="377812"/>
                </a:lnTo>
                <a:lnTo>
                  <a:pt x="290957" y="378078"/>
                </a:lnTo>
                <a:lnTo>
                  <a:pt x="297434" y="381330"/>
                </a:lnTo>
                <a:lnTo>
                  <a:pt x="303784" y="387565"/>
                </a:lnTo>
                <a:lnTo>
                  <a:pt x="310261" y="394055"/>
                </a:lnTo>
                <a:lnTo>
                  <a:pt x="313689" y="400862"/>
                </a:lnTo>
                <a:lnTo>
                  <a:pt x="314071" y="408012"/>
                </a:lnTo>
                <a:lnTo>
                  <a:pt x="314451" y="415150"/>
                </a:lnTo>
                <a:lnTo>
                  <a:pt x="312292" y="421055"/>
                </a:lnTo>
                <a:lnTo>
                  <a:pt x="307721" y="425742"/>
                </a:lnTo>
                <a:lnTo>
                  <a:pt x="304419" y="428942"/>
                </a:lnTo>
                <a:lnTo>
                  <a:pt x="300482" y="431088"/>
                </a:lnTo>
                <a:lnTo>
                  <a:pt x="295783" y="432168"/>
                </a:lnTo>
                <a:lnTo>
                  <a:pt x="291084" y="433260"/>
                </a:lnTo>
                <a:lnTo>
                  <a:pt x="286131" y="432866"/>
                </a:lnTo>
                <a:lnTo>
                  <a:pt x="280924" y="430999"/>
                </a:lnTo>
                <a:lnTo>
                  <a:pt x="275844" y="429132"/>
                </a:lnTo>
                <a:lnTo>
                  <a:pt x="271399" y="426288"/>
                </a:lnTo>
                <a:lnTo>
                  <a:pt x="267588" y="422478"/>
                </a:lnTo>
                <a:lnTo>
                  <a:pt x="261747" y="416648"/>
                </a:lnTo>
                <a:lnTo>
                  <a:pt x="258825" y="410197"/>
                </a:lnTo>
                <a:lnTo>
                  <a:pt x="252118" y="431637"/>
                </a:lnTo>
                <a:lnTo>
                  <a:pt x="263402" y="439709"/>
                </a:lnTo>
                <a:lnTo>
                  <a:pt x="274100" y="444852"/>
                </a:lnTo>
                <a:lnTo>
                  <a:pt x="284225" y="447065"/>
                </a:lnTo>
                <a:lnTo>
                  <a:pt x="294738" y="446621"/>
                </a:lnTo>
                <a:close/>
              </a:path>
              <a:path w="625094" h="675525">
                <a:moveTo>
                  <a:pt x="359917" y="391769"/>
                </a:moveTo>
                <a:lnTo>
                  <a:pt x="292608" y="272288"/>
                </a:lnTo>
                <a:lnTo>
                  <a:pt x="283717" y="281177"/>
                </a:lnTo>
                <a:lnTo>
                  <a:pt x="350900" y="400697"/>
                </a:lnTo>
                <a:lnTo>
                  <a:pt x="359917" y="391769"/>
                </a:lnTo>
                <a:close/>
              </a:path>
              <a:path w="625094" h="675525">
                <a:moveTo>
                  <a:pt x="448437" y="300100"/>
                </a:moveTo>
                <a:lnTo>
                  <a:pt x="437769" y="289432"/>
                </a:lnTo>
                <a:lnTo>
                  <a:pt x="393573" y="333730"/>
                </a:lnTo>
                <a:lnTo>
                  <a:pt x="392684" y="330492"/>
                </a:lnTo>
                <a:lnTo>
                  <a:pt x="392302" y="326936"/>
                </a:lnTo>
                <a:lnTo>
                  <a:pt x="392049" y="319176"/>
                </a:lnTo>
                <a:lnTo>
                  <a:pt x="392557" y="311149"/>
                </a:lnTo>
                <a:lnTo>
                  <a:pt x="393700" y="298830"/>
                </a:lnTo>
                <a:lnTo>
                  <a:pt x="394365" y="289356"/>
                </a:lnTo>
                <a:lnTo>
                  <a:pt x="394943" y="275992"/>
                </a:lnTo>
                <a:lnTo>
                  <a:pt x="394842" y="265938"/>
                </a:lnTo>
                <a:lnTo>
                  <a:pt x="394462" y="258698"/>
                </a:lnTo>
                <a:lnTo>
                  <a:pt x="393191" y="252475"/>
                </a:lnTo>
                <a:lnTo>
                  <a:pt x="391160" y="247522"/>
                </a:lnTo>
                <a:lnTo>
                  <a:pt x="389127" y="242569"/>
                </a:lnTo>
                <a:lnTo>
                  <a:pt x="386334" y="238251"/>
                </a:lnTo>
                <a:lnTo>
                  <a:pt x="382777" y="234695"/>
                </a:lnTo>
                <a:lnTo>
                  <a:pt x="370058" y="226398"/>
                </a:lnTo>
                <a:lnTo>
                  <a:pt x="357377" y="224408"/>
                </a:lnTo>
                <a:lnTo>
                  <a:pt x="352191" y="224935"/>
                </a:lnTo>
                <a:lnTo>
                  <a:pt x="340555" y="229208"/>
                </a:lnTo>
                <a:lnTo>
                  <a:pt x="329564" y="237743"/>
                </a:lnTo>
                <a:lnTo>
                  <a:pt x="325572" y="242108"/>
                </a:lnTo>
                <a:lnTo>
                  <a:pt x="318572" y="253278"/>
                </a:lnTo>
                <a:lnTo>
                  <a:pt x="315722" y="264921"/>
                </a:lnTo>
                <a:lnTo>
                  <a:pt x="315762" y="269780"/>
                </a:lnTo>
                <a:lnTo>
                  <a:pt x="318912" y="281513"/>
                </a:lnTo>
                <a:lnTo>
                  <a:pt x="326389" y="293115"/>
                </a:lnTo>
                <a:lnTo>
                  <a:pt x="338963" y="282955"/>
                </a:lnTo>
                <a:lnTo>
                  <a:pt x="333248" y="277240"/>
                </a:lnTo>
                <a:lnTo>
                  <a:pt x="330453" y="271144"/>
                </a:lnTo>
                <a:lnTo>
                  <a:pt x="330453" y="258317"/>
                </a:lnTo>
                <a:lnTo>
                  <a:pt x="333121" y="252475"/>
                </a:lnTo>
                <a:lnTo>
                  <a:pt x="338454" y="247141"/>
                </a:lnTo>
                <a:lnTo>
                  <a:pt x="343535" y="242188"/>
                </a:lnTo>
                <a:lnTo>
                  <a:pt x="349123" y="239521"/>
                </a:lnTo>
                <a:lnTo>
                  <a:pt x="355346" y="239394"/>
                </a:lnTo>
                <a:lnTo>
                  <a:pt x="361441" y="239267"/>
                </a:lnTo>
                <a:lnTo>
                  <a:pt x="366775" y="241426"/>
                </a:lnTo>
                <a:lnTo>
                  <a:pt x="371094" y="245871"/>
                </a:lnTo>
                <a:lnTo>
                  <a:pt x="375285" y="250062"/>
                </a:lnTo>
                <a:lnTo>
                  <a:pt x="378078" y="256158"/>
                </a:lnTo>
                <a:lnTo>
                  <a:pt x="379222" y="264286"/>
                </a:lnTo>
                <a:lnTo>
                  <a:pt x="379318" y="264938"/>
                </a:lnTo>
                <a:lnTo>
                  <a:pt x="379995" y="274660"/>
                </a:lnTo>
                <a:lnTo>
                  <a:pt x="379709" y="287457"/>
                </a:lnTo>
                <a:lnTo>
                  <a:pt x="378460" y="303275"/>
                </a:lnTo>
                <a:lnTo>
                  <a:pt x="378138" y="306735"/>
                </a:lnTo>
                <a:lnTo>
                  <a:pt x="377380" y="320398"/>
                </a:lnTo>
                <a:lnTo>
                  <a:pt x="377698" y="331482"/>
                </a:lnTo>
                <a:lnTo>
                  <a:pt x="378206" y="338772"/>
                </a:lnTo>
                <a:lnTo>
                  <a:pt x="379857" y="345211"/>
                </a:lnTo>
                <a:lnTo>
                  <a:pt x="382397" y="350786"/>
                </a:lnTo>
                <a:lnTo>
                  <a:pt x="383921" y="354190"/>
                </a:lnTo>
                <a:lnTo>
                  <a:pt x="386079" y="357187"/>
                </a:lnTo>
                <a:lnTo>
                  <a:pt x="388747" y="359778"/>
                </a:lnTo>
                <a:lnTo>
                  <a:pt x="448437" y="300100"/>
                </a:lnTo>
                <a:close/>
              </a:path>
              <a:path w="625094" h="675525">
                <a:moveTo>
                  <a:pt x="480533" y="268281"/>
                </a:moveTo>
                <a:lnTo>
                  <a:pt x="482091" y="251332"/>
                </a:lnTo>
                <a:lnTo>
                  <a:pt x="477012" y="256412"/>
                </a:lnTo>
                <a:lnTo>
                  <a:pt x="470281" y="258190"/>
                </a:lnTo>
                <a:lnTo>
                  <a:pt x="461899" y="256793"/>
                </a:lnTo>
                <a:lnTo>
                  <a:pt x="459198" y="256145"/>
                </a:lnTo>
                <a:lnTo>
                  <a:pt x="450235" y="251841"/>
                </a:lnTo>
                <a:lnTo>
                  <a:pt x="439542" y="243929"/>
                </a:lnTo>
                <a:lnTo>
                  <a:pt x="427100" y="232409"/>
                </a:lnTo>
                <a:lnTo>
                  <a:pt x="421597" y="226703"/>
                </a:lnTo>
                <a:lnTo>
                  <a:pt x="411889" y="215134"/>
                </a:lnTo>
                <a:lnTo>
                  <a:pt x="405487" y="204972"/>
                </a:lnTo>
                <a:lnTo>
                  <a:pt x="405737" y="233089"/>
                </a:lnTo>
                <a:lnTo>
                  <a:pt x="415671" y="243839"/>
                </a:lnTo>
                <a:lnTo>
                  <a:pt x="418188" y="246295"/>
                </a:lnTo>
                <a:lnTo>
                  <a:pt x="429892" y="256503"/>
                </a:lnTo>
                <a:lnTo>
                  <a:pt x="440994" y="264118"/>
                </a:lnTo>
                <a:lnTo>
                  <a:pt x="451493" y="269129"/>
                </a:lnTo>
                <a:lnTo>
                  <a:pt x="461390" y="271525"/>
                </a:lnTo>
                <a:lnTo>
                  <a:pt x="468757" y="271629"/>
                </a:lnTo>
                <a:lnTo>
                  <a:pt x="480533" y="268281"/>
                </a:lnTo>
                <a:close/>
              </a:path>
              <a:path w="625094" h="675525">
                <a:moveTo>
                  <a:pt x="491695" y="156642"/>
                </a:moveTo>
                <a:lnTo>
                  <a:pt x="481954" y="145123"/>
                </a:lnTo>
                <a:lnTo>
                  <a:pt x="475535" y="134946"/>
                </a:lnTo>
                <a:lnTo>
                  <a:pt x="472439" y="126110"/>
                </a:lnTo>
                <a:lnTo>
                  <a:pt x="475854" y="163037"/>
                </a:lnTo>
                <a:lnTo>
                  <a:pt x="485775" y="173735"/>
                </a:lnTo>
                <a:lnTo>
                  <a:pt x="488236" y="176172"/>
                </a:lnTo>
                <a:lnTo>
                  <a:pt x="499888" y="186459"/>
                </a:lnTo>
                <a:lnTo>
                  <a:pt x="491695" y="156642"/>
                </a:lnTo>
                <a:close/>
              </a:path>
              <a:path w="625094" h="675525">
                <a:moveTo>
                  <a:pt x="550583" y="198266"/>
                </a:moveTo>
                <a:lnTo>
                  <a:pt x="561213" y="190372"/>
                </a:lnTo>
                <a:lnTo>
                  <a:pt x="567816" y="183768"/>
                </a:lnTo>
                <a:lnTo>
                  <a:pt x="571500" y="176529"/>
                </a:lnTo>
                <a:lnTo>
                  <a:pt x="572388" y="168655"/>
                </a:lnTo>
                <a:lnTo>
                  <a:pt x="572424" y="168271"/>
                </a:lnTo>
                <a:lnTo>
                  <a:pt x="571583" y="156341"/>
                </a:lnTo>
                <a:lnTo>
                  <a:pt x="567054" y="143763"/>
                </a:lnTo>
                <a:lnTo>
                  <a:pt x="562214" y="135576"/>
                </a:lnTo>
                <a:lnTo>
                  <a:pt x="554544" y="125593"/>
                </a:lnTo>
                <a:lnTo>
                  <a:pt x="544576" y="114934"/>
                </a:lnTo>
                <a:lnTo>
                  <a:pt x="540344" y="110761"/>
                </a:lnTo>
                <a:lnTo>
                  <a:pt x="530213" y="101869"/>
                </a:lnTo>
                <a:lnTo>
                  <a:pt x="521208" y="95630"/>
                </a:lnTo>
                <a:lnTo>
                  <a:pt x="514603" y="91693"/>
                </a:lnTo>
                <a:lnTo>
                  <a:pt x="508253" y="89026"/>
                </a:lnTo>
                <a:lnTo>
                  <a:pt x="502285" y="87756"/>
                </a:lnTo>
                <a:lnTo>
                  <a:pt x="496188" y="86486"/>
                </a:lnTo>
                <a:lnTo>
                  <a:pt x="490347" y="86740"/>
                </a:lnTo>
                <a:lnTo>
                  <a:pt x="484759" y="88391"/>
                </a:lnTo>
                <a:lnTo>
                  <a:pt x="479171" y="90042"/>
                </a:lnTo>
                <a:lnTo>
                  <a:pt x="473963" y="93344"/>
                </a:lnTo>
                <a:lnTo>
                  <a:pt x="469138" y="98170"/>
                </a:lnTo>
                <a:lnTo>
                  <a:pt x="462534" y="104774"/>
                </a:lnTo>
                <a:lnTo>
                  <a:pt x="458850" y="112013"/>
                </a:lnTo>
                <a:lnTo>
                  <a:pt x="458088" y="119887"/>
                </a:lnTo>
                <a:lnTo>
                  <a:pt x="458055" y="120192"/>
                </a:lnTo>
                <a:lnTo>
                  <a:pt x="458773" y="132144"/>
                </a:lnTo>
                <a:lnTo>
                  <a:pt x="463296" y="144652"/>
                </a:lnTo>
                <a:lnTo>
                  <a:pt x="468208" y="153034"/>
                </a:lnTo>
                <a:lnTo>
                  <a:pt x="475854" y="163037"/>
                </a:lnTo>
                <a:lnTo>
                  <a:pt x="472439" y="126110"/>
                </a:lnTo>
                <a:lnTo>
                  <a:pt x="471170" y="118871"/>
                </a:lnTo>
                <a:lnTo>
                  <a:pt x="473075" y="112648"/>
                </a:lnTo>
                <a:lnTo>
                  <a:pt x="478154" y="107568"/>
                </a:lnTo>
                <a:lnTo>
                  <a:pt x="483362" y="102361"/>
                </a:lnTo>
                <a:lnTo>
                  <a:pt x="490092" y="100456"/>
                </a:lnTo>
                <a:lnTo>
                  <a:pt x="498475" y="101853"/>
                </a:lnTo>
                <a:lnTo>
                  <a:pt x="510083" y="106806"/>
                </a:lnTo>
                <a:lnTo>
                  <a:pt x="520807" y="114718"/>
                </a:lnTo>
                <a:lnTo>
                  <a:pt x="533273" y="126237"/>
                </a:lnTo>
                <a:lnTo>
                  <a:pt x="537566" y="130673"/>
                </a:lnTo>
                <a:lnTo>
                  <a:pt x="547807" y="142536"/>
                </a:lnTo>
                <a:lnTo>
                  <a:pt x="554468" y="152650"/>
                </a:lnTo>
                <a:lnTo>
                  <a:pt x="557529" y="161035"/>
                </a:lnTo>
                <a:lnTo>
                  <a:pt x="559053" y="169417"/>
                </a:lnTo>
                <a:lnTo>
                  <a:pt x="557276" y="176148"/>
                </a:lnTo>
                <a:lnTo>
                  <a:pt x="552196" y="181228"/>
                </a:lnTo>
                <a:lnTo>
                  <a:pt x="547115" y="186308"/>
                </a:lnTo>
                <a:lnTo>
                  <a:pt x="540385" y="188213"/>
                </a:lnTo>
                <a:lnTo>
                  <a:pt x="532002" y="186689"/>
                </a:lnTo>
                <a:lnTo>
                  <a:pt x="520302" y="181737"/>
                </a:lnTo>
                <a:lnTo>
                  <a:pt x="509590" y="173825"/>
                </a:lnTo>
                <a:lnTo>
                  <a:pt x="497204" y="162305"/>
                </a:lnTo>
                <a:lnTo>
                  <a:pt x="491695" y="156642"/>
                </a:lnTo>
                <a:lnTo>
                  <a:pt x="499888" y="186459"/>
                </a:lnTo>
                <a:lnTo>
                  <a:pt x="510967" y="194117"/>
                </a:lnTo>
                <a:lnTo>
                  <a:pt x="521464" y="199147"/>
                </a:lnTo>
                <a:lnTo>
                  <a:pt x="531367" y="201548"/>
                </a:lnTo>
                <a:lnTo>
                  <a:pt x="538789" y="201647"/>
                </a:lnTo>
                <a:lnTo>
                  <a:pt x="550583" y="198266"/>
                </a:lnTo>
                <a:close/>
              </a:path>
              <a:path w="625094" h="675525">
                <a:moveTo>
                  <a:pt x="625094" y="123443"/>
                </a:moveTo>
                <a:lnTo>
                  <a:pt x="618253" y="115185"/>
                </a:lnTo>
                <a:lnTo>
                  <a:pt x="610805" y="104807"/>
                </a:lnTo>
                <a:lnTo>
                  <a:pt x="604520" y="94360"/>
                </a:lnTo>
                <a:lnTo>
                  <a:pt x="600035" y="85801"/>
                </a:lnTo>
                <a:lnTo>
                  <a:pt x="594804" y="74302"/>
                </a:lnTo>
                <a:lnTo>
                  <a:pt x="590240" y="62372"/>
                </a:lnTo>
                <a:lnTo>
                  <a:pt x="586359" y="50037"/>
                </a:lnTo>
                <a:lnTo>
                  <a:pt x="585127" y="45648"/>
                </a:lnTo>
                <a:lnTo>
                  <a:pt x="581935" y="32233"/>
                </a:lnTo>
                <a:lnTo>
                  <a:pt x="579897" y="19889"/>
                </a:lnTo>
                <a:lnTo>
                  <a:pt x="578992" y="8635"/>
                </a:lnTo>
                <a:lnTo>
                  <a:pt x="570357" y="0"/>
                </a:lnTo>
                <a:lnTo>
                  <a:pt x="511937" y="58419"/>
                </a:lnTo>
                <a:lnTo>
                  <a:pt x="522604" y="69087"/>
                </a:lnTo>
                <a:lnTo>
                  <a:pt x="566801" y="24891"/>
                </a:lnTo>
                <a:lnTo>
                  <a:pt x="566939" y="26815"/>
                </a:lnTo>
                <a:lnTo>
                  <a:pt x="568409" y="38617"/>
                </a:lnTo>
                <a:lnTo>
                  <a:pt x="570961" y="51149"/>
                </a:lnTo>
                <a:lnTo>
                  <a:pt x="574548" y="64388"/>
                </a:lnTo>
                <a:lnTo>
                  <a:pt x="576420" y="70273"/>
                </a:lnTo>
                <a:lnTo>
                  <a:pt x="580892" y="82224"/>
                </a:lnTo>
                <a:lnTo>
                  <a:pt x="586146" y="93760"/>
                </a:lnTo>
                <a:lnTo>
                  <a:pt x="592201" y="104901"/>
                </a:lnTo>
                <a:lnTo>
                  <a:pt x="599003" y="116029"/>
                </a:lnTo>
                <a:lnTo>
                  <a:pt x="606394" y="126432"/>
                </a:lnTo>
                <a:lnTo>
                  <a:pt x="613663" y="134873"/>
                </a:lnTo>
                <a:lnTo>
                  <a:pt x="625094" y="123443"/>
                </a:lnTo>
                <a:close/>
              </a:path>
              <a:path w="625094" h="675525">
                <a:moveTo>
                  <a:pt x="491236" y="260476"/>
                </a:moveTo>
                <a:lnTo>
                  <a:pt x="497839" y="253872"/>
                </a:lnTo>
                <a:lnTo>
                  <a:pt x="501523" y="246633"/>
                </a:lnTo>
                <a:lnTo>
                  <a:pt x="502285" y="238632"/>
                </a:lnTo>
                <a:lnTo>
                  <a:pt x="502310" y="238359"/>
                </a:lnTo>
                <a:lnTo>
                  <a:pt x="501491" y="226393"/>
                </a:lnTo>
                <a:lnTo>
                  <a:pt x="496950" y="213867"/>
                </a:lnTo>
                <a:lnTo>
                  <a:pt x="492105" y="205665"/>
                </a:lnTo>
                <a:lnTo>
                  <a:pt x="484470" y="195656"/>
                </a:lnTo>
                <a:lnTo>
                  <a:pt x="474599" y="184911"/>
                </a:lnTo>
                <a:lnTo>
                  <a:pt x="470316" y="180782"/>
                </a:lnTo>
                <a:lnTo>
                  <a:pt x="460143" y="171885"/>
                </a:lnTo>
                <a:lnTo>
                  <a:pt x="451231" y="165607"/>
                </a:lnTo>
                <a:lnTo>
                  <a:pt x="444626" y="161670"/>
                </a:lnTo>
                <a:lnTo>
                  <a:pt x="438276" y="159130"/>
                </a:lnTo>
                <a:lnTo>
                  <a:pt x="432181" y="157860"/>
                </a:lnTo>
                <a:lnTo>
                  <a:pt x="426085" y="156590"/>
                </a:lnTo>
                <a:lnTo>
                  <a:pt x="420370" y="156717"/>
                </a:lnTo>
                <a:lnTo>
                  <a:pt x="414654" y="158495"/>
                </a:lnTo>
                <a:lnTo>
                  <a:pt x="409066" y="160146"/>
                </a:lnTo>
                <a:lnTo>
                  <a:pt x="403860" y="163448"/>
                </a:lnTo>
                <a:lnTo>
                  <a:pt x="399034" y="168274"/>
                </a:lnTo>
                <a:lnTo>
                  <a:pt x="392429" y="174878"/>
                </a:lnTo>
                <a:lnTo>
                  <a:pt x="388747" y="181990"/>
                </a:lnTo>
                <a:lnTo>
                  <a:pt x="387985" y="189864"/>
                </a:lnTo>
                <a:lnTo>
                  <a:pt x="387949" y="190249"/>
                </a:lnTo>
                <a:lnTo>
                  <a:pt x="388790" y="202179"/>
                </a:lnTo>
                <a:lnTo>
                  <a:pt x="393319" y="214756"/>
                </a:lnTo>
                <a:lnTo>
                  <a:pt x="398118" y="223041"/>
                </a:lnTo>
                <a:lnTo>
                  <a:pt x="405737" y="233089"/>
                </a:lnTo>
                <a:lnTo>
                  <a:pt x="405487" y="204972"/>
                </a:lnTo>
                <a:lnTo>
                  <a:pt x="402336" y="196214"/>
                </a:lnTo>
                <a:lnTo>
                  <a:pt x="401065" y="188848"/>
                </a:lnTo>
                <a:lnTo>
                  <a:pt x="402971" y="182625"/>
                </a:lnTo>
                <a:lnTo>
                  <a:pt x="408050" y="177545"/>
                </a:lnTo>
                <a:lnTo>
                  <a:pt x="413258" y="172338"/>
                </a:lnTo>
                <a:lnTo>
                  <a:pt x="419988" y="170560"/>
                </a:lnTo>
                <a:lnTo>
                  <a:pt x="428371" y="171957"/>
                </a:lnTo>
                <a:lnTo>
                  <a:pt x="440034" y="176910"/>
                </a:lnTo>
                <a:lnTo>
                  <a:pt x="450727" y="184822"/>
                </a:lnTo>
                <a:lnTo>
                  <a:pt x="463169" y="196341"/>
                </a:lnTo>
                <a:lnTo>
                  <a:pt x="467556" y="200811"/>
                </a:lnTo>
                <a:lnTo>
                  <a:pt x="477795" y="212622"/>
                </a:lnTo>
                <a:lnTo>
                  <a:pt x="484440" y="222746"/>
                </a:lnTo>
                <a:lnTo>
                  <a:pt x="487552" y="231139"/>
                </a:lnTo>
                <a:lnTo>
                  <a:pt x="488950" y="239521"/>
                </a:lnTo>
                <a:lnTo>
                  <a:pt x="487172" y="246252"/>
                </a:lnTo>
                <a:lnTo>
                  <a:pt x="482091" y="251332"/>
                </a:lnTo>
                <a:lnTo>
                  <a:pt x="480533" y="268281"/>
                </a:lnTo>
                <a:lnTo>
                  <a:pt x="491236" y="260476"/>
                </a:lnTo>
                <a:close/>
              </a:path>
              <a:path w="625094" h="675525">
                <a:moveTo>
                  <a:pt x="175513" y="576173"/>
                </a:moveTo>
                <a:lnTo>
                  <a:pt x="182117" y="569569"/>
                </a:lnTo>
                <a:lnTo>
                  <a:pt x="185800" y="562317"/>
                </a:lnTo>
                <a:lnTo>
                  <a:pt x="186562" y="554443"/>
                </a:lnTo>
                <a:lnTo>
                  <a:pt x="186594" y="554103"/>
                </a:lnTo>
                <a:lnTo>
                  <a:pt x="185762" y="542139"/>
                </a:lnTo>
                <a:lnTo>
                  <a:pt x="181228" y="529602"/>
                </a:lnTo>
                <a:lnTo>
                  <a:pt x="176398" y="521395"/>
                </a:lnTo>
                <a:lnTo>
                  <a:pt x="168758" y="511392"/>
                </a:lnTo>
                <a:lnTo>
                  <a:pt x="158876" y="500697"/>
                </a:lnTo>
                <a:lnTo>
                  <a:pt x="154594" y="496545"/>
                </a:lnTo>
                <a:lnTo>
                  <a:pt x="144421" y="487645"/>
                </a:lnTo>
                <a:lnTo>
                  <a:pt x="135509" y="481393"/>
                </a:lnTo>
                <a:lnTo>
                  <a:pt x="128904" y="477469"/>
                </a:lnTo>
                <a:lnTo>
                  <a:pt x="122554" y="474865"/>
                </a:lnTo>
                <a:lnTo>
                  <a:pt x="116459" y="473570"/>
                </a:lnTo>
                <a:lnTo>
                  <a:pt x="110362" y="472287"/>
                </a:lnTo>
                <a:lnTo>
                  <a:pt x="104521" y="472490"/>
                </a:lnTo>
                <a:lnTo>
                  <a:pt x="98933" y="474192"/>
                </a:lnTo>
                <a:lnTo>
                  <a:pt x="93345" y="475894"/>
                </a:lnTo>
                <a:lnTo>
                  <a:pt x="88137" y="479170"/>
                </a:lnTo>
                <a:lnTo>
                  <a:pt x="83312" y="484009"/>
                </a:lnTo>
                <a:lnTo>
                  <a:pt x="76708" y="490575"/>
                </a:lnTo>
                <a:lnTo>
                  <a:pt x="73025" y="497789"/>
                </a:lnTo>
                <a:lnTo>
                  <a:pt x="72262" y="505650"/>
                </a:lnTo>
                <a:lnTo>
                  <a:pt x="72234" y="505959"/>
                </a:lnTo>
                <a:lnTo>
                  <a:pt x="72995" y="517919"/>
                </a:lnTo>
                <a:lnTo>
                  <a:pt x="77470" y="530491"/>
                </a:lnTo>
                <a:lnTo>
                  <a:pt x="82374" y="538828"/>
                </a:lnTo>
                <a:lnTo>
                  <a:pt x="90023" y="548836"/>
                </a:lnTo>
                <a:lnTo>
                  <a:pt x="89709" y="520745"/>
                </a:lnTo>
                <a:lnTo>
                  <a:pt x="86613" y="511962"/>
                </a:lnTo>
                <a:lnTo>
                  <a:pt x="85344" y="504609"/>
                </a:lnTo>
                <a:lnTo>
                  <a:pt x="87249" y="498398"/>
                </a:lnTo>
                <a:lnTo>
                  <a:pt x="92328" y="493306"/>
                </a:lnTo>
                <a:lnTo>
                  <a:pt x="97536" y="488137"/>
                </a:lnTo>
                <a:lnTo>
                  <a:pt x="104266" y="486257"/>
                </a:lnTo>
                <a:lnTo>
                  <a:pt x="112649" y="487679"/>
                </a:lnTo>
                <a:lnTo>
                  <a:pt x="124319" y="492651"/>
                </a:lnTo>
                <a:lnTo>
                  <a:pt x="135009" y="500570"/>
                </a:lnTo>
                <a:lnTo>
                  <a:pt x="147447" y="512089"/>
                </a:lnTo>
                <a:lnTo>
                  <a:pt x="151767" y="516529"/>
                </a:lnTo>
                <a:lnTo>
                  <a:pt x="162001" y="528343"/>
                </a:lnTo>
                <a:lnTo>
                  <a:pt x="168689" y="538446"/>
                </a:lnTo>
                <a:lnTo>
                  <a:pt x="171831" y="546836"/>
                </a:lnTo>
                <a:lnTo>
                  <a:pt x="173227" y="555231"/>
                </a:lnTo>
                <a:lnTo>
                  <a:pt x="171450" y="561974"/>
                </a:lnTo>
                <a:lnTo>
                  <a:pt x="166370" y="567054"/>
                </a:lnTo>
                <a:lnTo>
                  <a:pt x="164855" y="584009"/>
                </a:lnTo>
                <a:lnTo>
                  <a:pt x="175513" y="57617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5" name="object 195"/>
          <p:cNvSpPr/>
          <p:nvPr/>
        </p:nvSpPr>
        <p:spPr>
          <a:xfrm>
            <a:off x="4075176" y="3961661"/>
            <a:ext cx="645160" cy="493956"/>
          </a:xfrm>
          <a:custGeom>
            <a:avLst/>
            <a:gdLst/>
            <a:ahLst/>
            <a:cxnLst/>
            <a:rect l="l" t="t" r="r" b="b"/>
            <a:pathLst>
              <a:path w="645160" h="659523">
                <a:moveTo>
                  <a:pt x="164752" y="568027"/>
                </a:moveTo>
                <a:lnTo>
                  <a:pt x="175387" y="560171"/>
                </a:lnTo>
                <a:lnTo>
                  <a:pt x="181990" y="553567"/>
                </a:lnTo>
                <a:lnTo>
                  <a:pt x="185674" y="546315"/>
                </a:lnTo>
                <a:lnTo>
                  <a:pt x="186562" y="538441"/>
                </a:lnTo>
                <a:lnTo>
                  <a:pt x="186594" y="538101"/>
                </a:lnTo>
                <a:lnTo>
                  <a:pt x="185762" y="526137"/>
                </a:lnTo>
                <a:lnTo>
                  <a:pt x="181228" y="513600"/>
                </a:lnTo>
                <a:lnTo>
                  <a:pt x="176366" y="505352"/>
                </a:lnTo>
                <a:lnTo>
                  <a:pt x="168704" y="495368"/>
                </a:lnTo>
                <a:lnTo>
                  <a:pt x="158750" y="484695"/>
                </a:lnTo>
                <a:lnTo>
                  <a:pt x="154518" y="480543"/>
                </a:lnTo>
                <a:lnTo>
                  <a:pt x="144387" y="471643"/>
                </a:lnTo>
                <a:lnTo>
                  <a:pt x="135382" y="465391"/>
                </a:lnTo>
                <a:lnTo>
                  <a:pt x="128777" y="461467"/>
                </a:lnTo>
                <a:lnTo>
                  <a:pt x="122427" y="458863"/>
                </a:lnTo>
                <a:lnTo>
                  <a:pt x="116459" y="457568"/>
                </a:lnTo>
                <a:lnTo>
                  <a:pt x="110362" y="456285"/>
                </a:lnTo>
                <a:lnTo>
                  <a:pt x="104521" y="456488"/>
                </a:lnTo>
                <a:lnTo>
                  <a:pt x="98933" y="458190"/>
                </a:lnTo>
                <a:lnTo>
                  <a:pt x="93345" y="459892"/>
                </a:lnTo>
                <a:lnTo>
                  <a:pt x="88137" y="463169"/>
                </a:lnTo>
                <a:lnTo>
                  <a:pt x="83312" y="468007"/>
                </a:lnTo>
                <a:lnTo>
                  <a:pt x="76708" y="474573"/>
                </a:lnTo>
                <a:lnTo>
                  <a:pt x="73025" y="481787"/>
                </a:lnTo>
                <a:lnTo>
                  <a:pt x="72262" y="489648"/>
                </a:lnTo>
                <a:lnTo>
                  <a:pt x="72223" y="490018"/>
                </a:lnTo>
                <a:lnTo>
                  <a:pt x="72955" y="501949"/>
                </a:lnTo>
                <a:lnTo>
                  <a:pt x="77470" y="514489"/>
                </a:lnTo>
                <a:lnTo>
                  <a:pt x="82374" y="522826"/>
                </a:lnTo>
                <a:lnTo>
                  <a:pt x="90023" y="532834"/>
                </a:lnTo>
                <a:lnTo>
                  <a:pt x="86613" y="495960"/>
                </a:lnTo>
                <a:lnTo>
                  <a:pt x="85344" y="488607"/>
                </a:lnTo>
                <a:lnTo>
                  <a:pt x="87249" y="482396"/>
                </a:lnTo>
                <a:lnTo>
                  <a:pt x="92328" y="477304"/>
                </a:lnTo>
                <a:lnTo>
                  <a:pt x="97536" y="472135"/>
                </a:lnTo>
                <a:lnTo>
                  <a:pt x="104266" y="470255"/>
                </a:lnTo>
                <a:lnTo>
                  <a:pt x="112649" y="471678"/>
                </a:lnTo>
                <a:lnTo>
                  <a:pt x="124264" y="476649"/>
                </a:lnTo>
                <a:lnTo>
                  <a:pt x="134985" y="484568"/>
                </a:lnTo>
                <a:lnTo>
                  <a:pt x="147447" y="496087"/>
                </a:lnTo>
                <a:lnTo>
                  <a:pt x="151705" y="500461"/>
                </a:lnTo>
                <a:lnTo>
                  <a:pt x="161964" y="512303"/>
                </a:lnTo>
                <a:lnTo>
                  <a:pt x="168637" y="522428"/>
                </a:lnTo>
                <a:lnTo>
                  <a:pt x="171703" y="530834"/>
                </a:lnTo>
                <a:lnTo>
                  <a:pt x="173227" y="539229"/>
                </a:lnTo>
                <a:lnTo>
                  <a:pt x="171450" y="545972"/>
                </a:lnTo>
                <a:lnTo>
                  <a:pt x="166370" y="551053"/>
                </a:lnTo>
                <a:lnTo>
                  <a:pt x="161289" y="556145"/>
                </a:lnTo>
                <a:lnTo>
                  <a:pt x="154559" y="557974"/>
                </a:lnTo>
                <a:lnTo>
                  <a:pt x="146176" y="556539"/>
                </a:lnTo>
                <a:lnTo>
                  <a:pt x="143472" y="555880"/>
                </a:lnTo>
                <a:lnTo>
                  <a:pt x="134476" y="551559"/>
                </a:lnTo>
                <a:lnTo>
                  <a:pt x="123764" y="543651"/>
                </a:lnTo>
                <a:lnTo>
                  <a:pt x="111378" y="532155"/>
                </a:lnTo>
                <a:lnTo>
                  <a:pt x="105869" y="526465"/>
                </a:lnTo>
                <a:lnTo>
                  <a:pt x="114045" y="556212"/>
                </a:lnTo>
                <a:lnTo>
                  <a:pt x="125131" y="563857"/>
                </a:lnTo>
                <a:lnTo>
                  <a:pt x="135633" y="568889"/>
                </a:lnTo>
                <a:lnTo>
                  <a:pt x="145541" y="571309"/>
                </a:lnTo>
                <a:lnTo>
                  <a:pt x="152951" y="571406"/>
                </a:lnTo>
                <a:lnTo>
                  <a:pt x="164752" y="568027"/>
                </a:lnTo>
                <a:close/>
              </a:path>
              <a:path w="645160" h="659523">
                <a:moveTo>
                  <a:pt x="175881" y="456412"/>
                </a:moveTo>
                <a:lnTo>
                  <a:pt x="166194" y="444861"/>
                </a:lnTo>
                <a:lnTo>
                  <a:pt x="159763" y="434693"/>
                </a:lnTo>
                <a:lnTo>
                  <a:pt x="156590" y="425907"/>
                </a:lnTo>
                <a:lnTo>
                  <a:pt x="160127" y="462788"/>
                </a:lnTo>
                <a:lnTo>
                  <a:pt x="170052" y="473506"/>
                </a:lnTo>
                <a:lnTo>
                  <a:pt x="172490" y="475909"/>
                </a:lnTo>
                <a:lnTo>
                  <a:pt x="184149" y="486166"/>
                </a:lnTo>
                <a:lnTo>
                  <a:pt x="175881" y="456412"/>
                </a:lnTo>
                <a:close/>
              </a:path>
              <a:path w="645160" h="659523">
                <a:moveTo>
                  <a:pt x="234802" y="497983"/>
                </a:moveTo>
                <a:lnTo>
                  <a:pt x="245490" y="490118"/>
                </a:lnTo>
                <a:lnTo>
                  <a:pt x="252095" y="483514"/>
                </a:lnTo>
                <a:lnTo>
                  <a:pt x="255777" y="476275"/>
                </a:lnTo>
                <a:lnTo>
                  <a:pt x="256539" y="468388"/>
                </a:lnTo>
                <a:lnTo>
                  <a:pt x="256571" y="468048"/>
                </a:lnTo>
                <a:lnTo>
                  <a:pt x="255739" y="456094"/>
                </a:lnTo>
                <a:lnTo>
                  <a:pt x="251206" y="443547"/>
                </a:lnTo>
                <a:lnTo>
                  <a:pt x="246375" y="435345"/>
                </a:lnTo>
                <a:lnTo>
                  <a:pt x="238735" y="425340"/>
                </a:lnTo>
                <a:lnTo>
                  <a:pt x="228853" y="414642"/>
                </a:lnTo>
                <a:lnTo>
                  <a:pt x="224620" y="410499"/>
                </a:lnTo>
                <a:lnTo>
                  <a:pt x="214440" y="401599"/>
                </a:lnTo>
                <a:lnTo>
                  <a:pt x="205486" y="395350"/>
                </a:lnTo>
                <a:lnTo>
                  <a:pt x="198882" y="391426"/>
                </a:lnTo>
                <a:lnTo>
                  <a:pt x="192532" y="388823"/>
                </a:lnTo>
                <a:lnTo>
                  <a:pt x="186436" y="387527"/>
                </a:lnTo>
                <a:lnTo>
                  <a:pt x="180466" y="386232"/>
                </a:lnTo>
                <a:lnTo>
                  <a:pt x="174625" y="386435"/>
                </a:lnTo>
                <a:lnTo>
                  <a:pt x="169037" y="388137"/>
                </a:lnTo>
                <a:lnTo>
                  <a:pt x="163322" y="389851"/>
                </a:lnTo>
                <a:lnTo>
                  <a:pt x="158114" y="393115"/>
                </a:lnTo>
                <a:lnTo>
                  <a:pt x="153288" y="397967"/>
                </a:lnTo>
                <a:lnTo>
                  <a:pt x="146685" y="404533"/>
                </a:lnTo>
                <a:lnTo>
                  <a:pt x="143001" y="411746"/>
                </a:lnTo>
                <a:lnTo>
                  <a:pt x="142239" y="419608"/>
                </a:lnTo>
                <a:lnTo>
                  <a:pt x="142208" y="419946"/>
                </a:lnTo>
                <a:lnTo>
                  <a:pt x="143040" y="431883"/>
                </a:lnTo>
                <a:lnTo>
                  <a:pt x="147574" y="444449"/>
                </a:lnTo>
                <a:lnTo>
                  <a:pt x="152478" y="452783"/>
                </a:lnTo>
                <a:lnTo>
                  <a:pt x="160127" y="462788"/>
                </a:lnTo>
                <a:lnTo>
                  <a:pt x="156590" y="425907"/>
                </a:lnTo>
                <a:lnTo>
                  <a:pt x="155321" y="418566"/>
                </a:lnTo>
                <a:lnTo>
                  <a:pt x="157225" y="412343"/>
                </a:lnTo>
                <a:lnTo>
                  <a:pt x="162306" y="407263"/>
                </a:lnTo>
                <a:lnTo>
                  <a:pt x="167512" y="402081"/>
                </a:lnTo>
                <a:lnTo>
                  <a:pt x="174244" y="400215"/>
                </a:lnTo>
                <a:lnTo>
                  <a:pt x="182625" y="401624"/>
                </a:lnTo>
                <a:lnTo>
                  <a:pt x="194296" y="406601"/>
                </a:lnTo>
                <a:lnTo>
                  <a:pt x="204986" y="414517"/>
                </a:lnTo>
                <a:lnTo>
                  <a:pt x="217424" y="426034"/>
                </a:lnTo>
                <a:lnTo>
                  <a:pt x="221788" y="430486"/>
                </a:lnTo>
                <a:lnTo>
                  <a:pt x="232074" y="442303"/>
                </a:lnTo>
                <a:lnTo>
                  <a:pt x="238747" y="452405"/>
                </a:lnTo>
                <a:lnTo>
                  <a:pt x="241808" y="460794"/>
                </a:lnTo>
                <a:lnTo>
                  <a:pt x="243204" y="469176"/>
                </a:lnTo>
                <a:lnTo>
                  <a:pt x="241426" y="475919"/>
                </a:lnTo>
                <a:lnTo>
                  <a:pt x="236347" y="481012"/>
                </a:lnTo>
                <a:lnTo>
                  <a:pt x="231266" y="486105"/>
                </a:lnTo>
                <a:lnTo>
                  <a:pt x="224536" y="487934"/>
                </a:lnTo>
                <a:lnTo>
                  <a:pt x="216153" y="486486"/>
                </a:lnTo>
                <a:lnTo>
                  <a:pt x="204493" y="481508"/>
                </a:lnTo>
                <a:lnTo>
                  <a:pt x="193799" y="473603"/>
                </a:lnTo>
                <a:lnTo>
                  <a:pt x="181356" y="462114"/>
                </a:lnTo>
                <a:lnTo>
                  <a:pt x="175881" y="456412"/>
                </a:lnTo>
                <a:lnTo>
                  <a:pt x="184149" y="486166"/>
                </a:lnTo>
                <a:lnTo>
                  <a:pt x="195235" y="493812"/>
                </a:lnTo>
                <a:lnTo>
                  <a:pt x="205737" y="498847"/>
                </a:lnTo>
                <a:lnTo>
                  <a:pt x="215646" y="501269"/>
                </a:lnTo>
                <a:lnTo>
                  <a:pt x="223044" y="501365"/>
                </a:lnTo>
                <a:lnTo>
                  <a:pt x="234802" y="497983"/>
                </a:lnTo>
                <a:close/>
              </a:path>
              <a:path w="645160" h="659523">
                <a:moveTo>
                  <a:pt x="309245" y="423214"/>
                </a:moveTo>
                <a:lnTo>
                  <a:pt x="302527" y="414980"/>
                </a:lnTo>
                <a:lnTo>
                  <a:pt x="295096" y="404599"/>
                </a:lnTo>
                <a:lnTo>
                  <a:pt x="288798" y="394157"/>
                </a:lnTo>
                <a:lnTo>
                  <a:pt x="284238" y="385517"/>
                </a:lnTo>
                <a:lnTo>
                  <a:pt x="279003" y="374030"/>
                </a:lnTo>
                <a:lnTo>
                  <a:pt x="274442" y="362128"/>
                </a:lnTo>
                <a:lnTo>
                  <a:pt x="270510" y="349808"/>
                </a:lnTo>
                <a:lnTo>
                  <a:pt x="269299" y="345369"/>
                </a:lnTo>
                <a:lnTo>
                  <a:pt x="266180" y="331955"/>
                </a:lnTo>
                <a:lnTo>
                  <a:pt x="264170" y="319614"/>
                </a:lnTo>
                <a:lnTo>
                  <a:pt x="263271" y="308343"/>
                </a:lnTo>
                <a:lnTo>
                  <a:pt x="254635" y="299719"/>
                </a:lnTo>
                <a:lnTo>
                  <a:pt x="196214" y="358140"/>
                </a:lnTo>
                <a:lnTo>
                  <a:pt x="206883" y="368795"/>
                </a:lnTo>
                <a:lnTo>
                  <a:pt x="251078" y="324586"/>
                </a:lnTo>
                <a:lnTo>
                  <a:pt x="251217" y="326534"/>
                </a:lnTo>
                <a:lnTo>
                  <a:pt x="252649" y="338377"/>
                </a:lnTo>
                <a:lnTo>
                  <a:pt x="255143" y="350907"/>
                </a:lnTo>
                <a:lnTo>
                  <a:pt x="258699" y="364121"/>
                </a:lnTo>
                <a:lnTo>
                  <a:pt x="260630" y="370034"/>
                </a:lnTo>
                <a:lnTo>
                  <a:pt x="265147" y="381977"/>
                </a:lnTo>
                <a:lnTo>
                  <a:pt x="270381" y="393528"/>
                </a:lnTo>
                <a:lnTo>
                  <a:pt x="276351" y="404685"/>
                </a:lnTo>
                <a:lnTo>
                  <a:pt x="283196" y="415778"/>
                </a:lnTo>
                <a:lnTo>
                  <a:pt x="290644" y="426169"/>
                </a:lnTo>
                <a:lnTo>
                  <a:pt x="297941" y="434606"/>
                </a:lnTo>
                <a:lnTo>
                  <a:pt x="309245" y="423214"/>
                </a:lnTo>
                <a:close/>
              </a:path>
              <a:path w="645160" h="659523">
                <a:moveTo>
                  <a:pt x="359790" y="375767"/>
                </a:moveTo>
                <a:lnTo>
                  <a:pt x="292608" y="256286"/>
                </a:lnTo>
                <a:lnTo>
                  <a:pt x="283718" y="265175"/>
                </a:lnTo>
                <a:lnTo>
                  <a:pt x="350900" y="384695"/>
                </a:lnTo>
                <a:lnTo>
                  <a:pt x="359790" y="375767"/>
                </a:lnTo>
                <a:close/>
              </a:path>
              <a:path w="645160" h="659523">
                <a:moveTo>
                  <a:pt x="448437" y="284099"/>
                </a:moveTo>
                <a:lnTo>
                  <a:pt x="437769" y="273431"/>
                </a:lnTo>
                <a:lnTo>
                  <a:pt x="393446" y="317728"/>
                </a:lnTo>
                <a:lnTo>
                  <a:pt x="392684" y="314490"/>
                </a:lnTo>
                <a:lnTo>
                  <a:pt x="392302" y="310934"/>
                </a:lnTo>
                <a:lnTo>
                  <a:pt x="392049" y="303174"/>
                </a:lnTo>
                <a:lnTo>
                  <a:pt x="392557" y="295147"/>
                </a:lnTo>
                <a:lnTo>
                  <a:pt x="393573" y="282828"/>
                </a:lnTo>
                <a:lnTo>
                  <a:pt x="394307" y="273347"/>
                </a:lnTo>
                <a:lnTo>
                  <a:pt x="394936" y="259987"/>
                </a:lnTo>
                <a:lnTo>
                  <a:pt x="394843" y="249936"/>
                </a:lnTo>
                <a:lnTo>
                  <a:pt x="394335" y="242697"/>
                </a:lnTo>
                <a:lnTo>
                  <a:pt x="393191" y="236474"/>
                </a:lnTo>
                <a:lnTo>
                  <a:pt x="391160" y="231521"/>
                </a:lnTo>
                <a:lnTo>
                  <a:pt x="389127" y="226568"/>
                </a:lnTo>
                <a:lnTo>
                  <a:pt x="386334" y="222250"/>
                </a:lnTo>
                <a:lnTo>
                  <a:pt x="382650" y="218694"/>
                </a:lnTo>
                <a:lnTo>
                  <a:pt x="370026" y="210396"/>
                </a:lnTo>
                <a:lnTo>
                  <a:pt x="357250" y="208406"/>
                </a:lnTo>
                <a:lnTo>
                  <a:pt x="352209" y="208917"/>
                </a:lnTo>
                <a:lnTo>
                  <a:pt x="340588" y="213182"/>
                </a:lnTo>
                <a:lnTo>
                  <a:pt x="329564" y="221741"/>
                </a:lnTo>
                <a:lnTo>
                  <a:pt x="325572" y="226106"/>
                </a:lnTo>
                <a:lnTo>
                  <a:pt x="318572" y="237276"/>
                </a:lnTo>
                <a:lnTo>
                  <a:pt x="315722" y="248919"/>
                </a:lnTo>
                <a:lnTo>
                  <a:pt x="315758" y="253740"/>
                </a:lnTo>
                <a:lnTo>
                  <a:pt x="318879" y="265492"/>
                </a:lnTo>
                <a:lnTo>
                  <a:pt x="326263" y="277113"/>
                </a:lnTo>
                <a:lnTo>
                  <a:pt x="338836" y="266953"/>
                </a:lnTo>
                <a:lnTo>
                  <a:pt x="333248" y="261238"/>
                </a:lnTo>
                <a:lnTo>
                  <a:pt x="330453" y="255143"/>
                </a:lnTo>
                <a:lnTo>
                  <a:pt x="330453" y="242315"/>
                </a:lnTo>
                <a:lnTo>
                  <a:pt x="333121" y="236474"/>
                </a:lnTo>
                <a:lnTo>
                  <a:pt x="338454" y="231140"/>
                </a:lnTo>
                <a:lnTo>
                  <a:pt x="343535" y="226187"/>
                </a:lnTo>
                <a:lnTo>
                  <a:pt x="349123" y="223519"/>
                </a:lnTo>
                <a:lnTo>
                  <a:pt x="355219" y="223393"/>
                </a:lnTo>
                <a:lnTo>
                  <a:pt x="361441" y="223265"/>
                </a:lnTo>
                <a:lnTo>
                  <a:pt x="366649" y="225425"/>
                </a:lnTo>
                <a:lnTo>
                  <a:pt x="371094" y="229869"/>
                </a:lnTo>
                <a:lnTo>
                  <a:pt x="375285" y="234061"/>
                </a:lnTo>
                <a:lnTo>
                  <a:pt x="377951" y="240156"/>
                </a:lnTo>
                <a:lnTo>
                  <a:pt x="379222" y="248284"/>
                </a:lnTo>
                <a:lnTo>
                  <a:pt x="379995" y="258658"/>
                </a:lnTo>
                <a:lnTo>
                  <a:pt x="379709" y="271455"/>
                </a:lnTo>
                <a:lnTo>
                  <a:pt x="378460" y="287274"/>
                </a:lnTo>
                <a:lnTo>
                  <a:pt x="378139" y="290724"/>
                </a:lnTo>
                <a:lnTo>
                  <a:pt x="377359" y="304392"/>
                </a:lnTo>
                <a:lnTo>
                  <a:pt x="377571" y="315480"/>
                </a:lnTo>
                <a:lnTo>
                  <a:pt x="378206" y="322770"/>
                </a:lnTo>
                <a:lnTo>
                  <a:pt x="379857" y="329209"/>
                </a:lnTo>
                <a:lnTo>
                  <a:pt x="382397" y="334784"/>
                </a:lnTo>
                <a:lnTo>
                  <a:pt x="383921" y="338188"/>
                </a:lnTo>
                <a:lnTo>
                  <a:pt x="385952" y="341185"/>
                </a:lnTo>
                <a:lnTo>
                  <a:pt x="388747" y="343776"/>
                </a:lnTo>
                <a:lnTo>
                  <a:pt x="448437" y="284099"/>
                </a:lnTo>
                <a:close/>
              </a:path>
              <a:path w="645160" h="659523">
                <a:moveTo>
                  <a:pt x="480565" y="252260"/>
                </a:moveTo>
                <a:lnTo>
                  <a:pt x="482091" y="235331"/>
                </a:lnTo>
                <a:lnTo>
                  <a:pt x="477012" y="240411"/>
                </a:lnTo>
                <a:lnTo>
                  <a:pt x="470281" y="242188"/>
                </a:lnTo>
                <a:lnTo>
                  <a:pt x="461899" y="240791"/>
                </a:lnTo>
                <a:lnTo>
                  <a:pt x="459198" y="240143"/>
                </a:lnTo>
                <a:lnTo>
                  <a:pt x="450235" y="235839"/>
                </a:lnTo>
                <a:lnTo>
                  <a:pt x="439542" y="227927"/>
                </a:lnTo>
                <a:lnTo>
                  <a:pt x="427100" y="216408"/>
                </a:lnTo>
                <a:lnTo>
                  <a:pt x="421591" y="210701"/>
                </a:lnTo>
                <a:lnTo>
                  <a:pt x="411850" y="199132"/>
                </a:lnTo>
                <a:lnTo>
                  <a:pt x="405431" y="188970"/>
                </a:lnTo>
                <a:lnTo>
                  <a:pt x="405750" y="217109"/>
                </a:lnTo>
                <a:lnTo>
                  <a:pt x="415671" y="227837"/>
                </a:lnTo>
                <a:lnTo>
                  <a:pt x="418089" y="230199"/>
                </a:lnTo>
                <a:lnTo>
                  <a:pt x="429797" y="240447"/>
                </a:lnTo>
                <a:lnTo>
                  <a:pt x="440882" y="248090"/>
                </a:lnTo>
                <a:lnTo>
                  <a:pt x="451364" y="253119"/>
                </a:lnTo>
                <a:lnTo>
                  <a:pt x="461263" y="255524"/>
                </a:lnTo>
                <a:lnTo>
                  <a:pt x="468785" y="255619"/>
                </a:lnTo>
                <a:lnTo>
                  <a:pt x="480565" y="252260"/>
                </a:lnTo>
                <a:close/>
              </a:path>
              <a:path w="645160" h="659523">
                <a:moveTo>
                  <a:pt x="550583" y="182264"/>
                </a:moveTo>
                <a:lnTo>
                  <a:pt x="552069" y="165227"/>
                </a:lnTo>
                <a:lnTo>
                  <a:pt x="546988" y="170306"/>
                </a:lnTo>
                <a:lnTo>
                  <a:pt x="540258" y="172212"/>
                </a:lnTo>
                <a:lnTo>
                  <a:pt x="531876" y="170687"/>
                </a:lnTo>
                <a:lnTo>
                  <a:pt x="529175" y="170039"/>
                </a:lnTo>
                <a:lnTo>
                  <a:pt x="520212" y="165735"/>
                </a:lnTo>
                <a:lnTo>
                  <a:pt x="509519" y="157823"/>
                </a:lnTo>
                <a:lnTo>
                  <a:pt x="497077" y="146303"/>
                </a:lnTo>
                <a:lnTo>
                  <a:pt x="491667" y="140700"/>
                </a:lnTo>
                <a:lnTo>
                  <a:pt x="481955" y="129157"/>
                </a:lnTo>
                <a:lnTo>
                  <a:pt x="475540" y="118959"/>
                </a:lnTo>
                <a:lnTo>
                  <a:pt x="475854" y="147035"/>
                </a:lnTo>
                <a:lnTo>
                  <a:pt x="485775" y="157734"/>
                </a:lnTo>
                <a:lnTo>
                  <a:pt x="488236" y="160170"/>
                </a:lnTo>
                <a:lnTo>
                  <a:pt x="499888" y="170457"/>
                </a:lnTo>
                <a:lnTo>
                  <a:pt x="510967" y="178115"/>
                </a:lnTo>
                <a:lnTo>
                  <a:pt x="521464" y="183145"/>
                </a:lnTo>
                <a:lnTo>
                  <a:pt x="531368" y="185547"/>
                </a:lnTo>
                <a:lnTo>
                  <a:pt x="538789" y="185645"/>
                </a:lnTo>
                <a:lnTo>
                  <a:pt x="550583" y="182264"/>
                </a:lnTo>
                <a:close/>
              </a:path>
              <a:path w="645160" h="659523">
                <a:moveTo>
                  <a:pt x="608870" y="117018"/>
                </a:moveTo>
                <a:lnTo>
                  <a:pt x="620588" y="112586"/>
                </a:lnTo>
                <a:lnTo>
                  <a:pt x="631444" y="104140"/>
                </a:lnTo>
                <a:lnTo>
                  <a:pt x="636652" y="98184"/>
                </a:lnTo>
                <a:lnTo>
                  <a:pt x="642884" y="86873"/>
                </a:lnTo>
                <a:lnTo>
                  <a:pt x="645160" y="74675"/>
                </a:lnTo>
                <a:lnTo>
                  <a:pt x="644958" y="69968"/>
                </a:lnTo>
                <a:lnTo>
                  <a:pt x="641551" y="57706"/>
                </a:lnTo>
                <a:lnTo>
                  <a:pt x="633857" y="47116"/>
                </a:lnTo>
                <a:lnTo>
                  <a:pt x="628269" y="41528"/>
                </a:lnTo>
                <a:lnTo>
                  <a:pt x="622046" y="38100"/>
                </a:lnTo>
                <a:lnTo>
                  <a:pt x="615061" y="36956"/>
                </a:lnTo>
                <a:lnTo>
                  <a:pt x="608202" y="35940"/>
                </a:lnTo>
                <a:lnTo>
                  <a:pt x="601090" y="37211"/>
                </a:lnTo>
                <a:lnTo>
                  <a:pt x="593725" y="40893"/>
                </a:lnTo>
                <a:lnTo>
                  <a:pt x="596519" y="34797"/>
                </a:lnTo>
                <a:lnTo>
                  <a:pt x="597408" y="29083"/>
                </a:lnTo>
                <a:lnTo>
                  <a:pt x="596519" y="23749"/>
                </a:lnTo>
                <a:lnTo>
                  <a:pt x="595629" y="18415"/>
                </a:lnTo>
                <a:lnTo>
                  <a:pt x="593089" y="13715"/>
                </a:lnTo>
                <a:lnTo>
                  <a:pt x="588899" y="9525"/>
                </a:lnTo>
                <a:lnTo>
                  <a:pt x="577779" y="2100"/>
                </a:lnTo>
                <a:lnTo>
                  <a:pt x="565023" y="0"/>
                </a:lnTo>
                <a:lnTo>
                  <a:pt x="561868" y="231"/>
                </a:lnTo>
                <a:lnTo>
                  <a:pt x="552576" y="17018"/>
                </a:lnTo>
                <a:lnTo>
                  <a:pt x="557402" y="14859"/>
                </a:lnTo>
                <a:lnTo>
                  <a:pt x="562990" y="14859"/>
                </a:lnTo>
                <a:lnTo>
                  <a:pt x="568578" y="14731"/>
                </a:lnTo>
                <a:lnTo>
                  <a:pt x="573404" y="16763"/>
                </a:lnTo>
                <a:lnTo>
                  <a:pt x="577469" y="20828"/>
                </a:lnTo>
                <a:lnTo>
                  <a:pt x="581406" y="24765"/>
                </a:lnTo>
                <a:lnTo>
                  <a:pt x="583311" y="29463"/>
                </a:lnTo>
                <a:lnTo>
                  <a:pt x="583184" y="40259"/>
                </a:lnTo>
                <a:lnTo>
                  <a:pt x="581025" y="45084"/>
                </a:lnTo>
                <a:lnTo>
                  <a:pt x="580263" y="63881"/>
                </a:lnTo>
                <a:lnTo>
                  <a:pt x="585470" y="58674"/>
                </a:lnTo>
                <a:lnTo>
                  <a:pt x="590803" y="53340"/>
                </a:lnTo>
                <a:lnTo>
                  <a:pt x="597026" y="50672"/>
                </a:lnTo>
                <a:lnTo>
                  <a:pt x="611124" y="50546"/>
                </a:lnTo>
                <a:lnTo>
                  <a:pt x="617347" y="53212"/>
                </a:lnTo>
                <a:lnTo>
                  <a:pt x="622681" y="58546"/>
                </a:lnTo>
                <a:lnTo>
                  <a:pt x="627888" y="63753"/>
                </a:lnTo>
                <a:lnTo>
                  <a:pt x="630554" y="69850"/>
                </a:lnTo>
                <a:lnTo>
                  <a:pt x="630427" y="83565"/>
                </a:lnTo>
                <a:lnTo>
                  <a:pt x="627761" y="89662"/>
                </a:lnTo>
                <a:lnTo>
                  <a:pt x="622426" y="94868"/>
                </a:lnTo>
                <a:lnTo>
                  <a:pt x="618998" y="98297"/>
                </a:lnTo>
                <a:lnTo>
                  <a:pt x="615061" y="100711"/>
                </a:lnTo>
                <a:lnTo>
                  <a:pt x="610488" y="101981"/>
                </a:lnTo>
                <a:lnTo>
                  <a:pt x="605916" y="103378"/>
                </a:lnTo>
                <a:lnTo>
                  <a:pt x="601345" y="103250"/>
                </a:lnTo>
                <a:lnTo>
                  <a:pt x="601979" y="117728"/>
                </a:lnTo>
                <a:lnTo>
                  <a:pt x="608870" y="117018"/>
                </a:lnTo>
                <a:close/>
              </a:path>
              <a:path w="645160" h="659523">
                <a:moveTo>
                  <a:pt x="601345" y="103250"/>
                </a:moveTo>
                <a:lnTo>
                  <a:pt x="596900" y="101853"/>
                </a:lnTo>
                <a:lnTo>
                  <a:pt x="592454" y="100330"/>
                </a:lnTo>
                <a:lnTo>
                  <a:pt x="588645" y="98043"/>
                </a:lnTo>
                <a:lnTo>
                  <a:pt x="585470" y="94868"/>
                </a:lnTo>
                <a:lnTo>
                  <a:pt x="580389" y="89788"/>
                </a:lnTo>
                <a:lnTo>
                  <a:pt x="577723" y="83693"/>
                </a:lnTo>
                <a:lnTo>
                  <a:pt x="577723" y="69977"/>
                </a:lnTo>
                <a:lnTo>
                  <a:pt x="580263" y="63881"/>
                </a:lnTo>
                <a:lnTo>
                  <a:pt x="581025" y="45084"/>
                </a:lnTo>
                <a:lnTo>
                  <a:pt x="576834" y="49403"/>
                </a:lnTo>
                <a:lnTo>
                  <a:pt x="572388" y="53721"/>
                </a:lnTo>
                <a:lnTo>
                  <a:pt x="567436" y="56006"/>
                </a:lnTo>
                <a:lnTo>
                  <a:pt x="556513" y="56006"/>
                </a:lnTo>
                <a:lnTo>
                  <a:pt x="551688" y="53975"/>
                </a:lnTo>
                <a:lnTo>
                  <a:pt x="547370" y="49656"/>
                </a:lnTo>
                <a:lnTo>
                  <a:pt x="543687" y="45846"/>
                </a:lnTo>
                <a:lnTo>
                  <a:pt x="541782" y="41275"/>
                </a:lnTo>
                <a:lnTo>
                  <a:pt x="541909" y="30225"/>
                </a:lnTo>
                <a:lnTo>
                  <a:pt x="544068" y="25400"/>
                </a:lnTo>
                <a:lnTo>
                  <a:pt x="548386" y="21209"/>
                </a:lnTo>
                <a:lnTo>
                  <a:pt x="552576" y="17018"/>
                </a:lnTo>
                <a:lnTo>
                  <a:pt x="561868" y="231"/>
                </a:lnTo>
                <a:lnTo>
                  <a:pt x="550041" y="3963"/>
                </a:lnTo>
                <a:lnTo>
                  <a:pt x="539114" y="12191"/>
                </a:lnTo>
                <a:lnTo>
                  <a:pt x="536821" y="14624"/>
                </a:lnTo>
                <a:lnTo>
                  <a:pt x="529568" y="25787"/>
                </a:lnTo>
                <a:lnTo>
                  <a:pt x="526923" y="37718"/>
                </a:lnTo>
                <a:lnTo>
                  <a:pt x="526916" y="38001"/>
                </a:lnTo>
                <a:lnTo>
                  <a:pt x="529163" y="50604"/>
                </a:lnTo>
                <a:lnTo>
                  <a:pt x="536448" y="61340"/>
                </a:lnTo>
                <a:lnTo>
                  <a:pt x="540765" y="65659"/>
                </a:lnTo>
                <a:lnTo>
                  <a:pt x="545591" y="68325"/>
                </a:lnTo>
                <a:lnTo>
                  <a:pt x="550926" y="69215"/>
                </a:lnTo>
                <a:lnTo>
                  <a:pt x="556260" y="70103"/>
                </a:lnTo>
                <a:lnTo>
                  <a:pt x="562101" y="69087"/>
                </a:lnTo>
                <a:lnTo>
                  <a:pt x="568451" y="66166"/>
                </a:lnTo>
                <a:lnTo>
                  <a:pt x="564388" y="73152"/>
                </a:lnTo>
                <a:lnTo>
                  <a:pt x="562863" y="80137"/>
                </a:lnTo>
                <a:lnTo>
                  <a:pt x="563752" y="86994"/>
                </a:lnTo>
                <a:lnTo>
                  <a:pt x="564769" y="93980"/>
                </a:lnTo>
                <a:lnTo>
                  <a:pt x="568198" y="100330"/>
                </a:lnTo>
                <a:lnTo>
                  <a:pt x="574039" y="106299"/>
                </a:lnTo>
                <a:lnTo>
                  <a:pt x="578036" y="109845"/>
                </a:lnTo>
                <a:lnTo>
                  <a:pt x="589286" y="115917"/>
                </a:lnTo>
                <a:lnTo>
                  <a:pt x="601979" y="117728"/>
                </a:lnTo>
                <a:lnTo>
                  <a:pt x="601345" y="103250"/>
                </a:lnTo>
                <a:close/>
              </a:path>
              <a:path w="645160" h="659523">
                <a:moveTo>
                  <a:pt x="561213" y="174371"/>
                </a:moveTo>
                <a:lnTo>
                  <a:pt x="567816" y="167766"/>
                </a:lnTo>
                <a:lnTo>
                  <a:pt x="571500" y="160528"/>
                </a:lnTo>
                <a:lnTo>
                  <a:pt x="572262" y="152653"/>
                </a:lnTo>
                <a:lnTo>
                  <a:pt x="572297" y="152269"/>
                </a:lnTo>
                <a:lnTo>
                  <a:pt x="571456" y="140339"/>
                </a:lnTo>
                <a:lnTo>
                  <a:pt x="566927" y="127762"/>
                </a:lnTo>
                <a:lnTo>
                  <a:pt x="562143" y="119615"/>
                </a:lnTo>
                <a:lnTo>
                  <a:pt x="554528" y="109613"/>
                </a:lnTo>
                <a:lnTo>
                  <a:pt x="544576" y="98933"/>
                </a:lnTo>
                <a:lnTo>
                  <a:pt x="540336" y="94759"/>
                </a:lnTo>
                <a:lnTo>
                  <a:pt x="530159" y="85867"/>
                </a:lnTo>
                <a:lnTo>
                  <a:pt x="521208" y="79628"/>
                </a:lnTo>
                <a:lnTo>
                  <a:pt x="514603" y="75691"/>
                </a:lnTo>
                <a:lnTo>
                  <a:pt x="508253" y="73025"/>
                </a:lnTo>
                <a:lnTo>
                  <a:pt x="502158" y="71755"/>
                </a:lnTo>
                <a:lnTo>
                  <a:pt x="496188" y="70484"/>
                </a:lnTo>
                <a:lnTo>
                  <a:pt x="490347" y="70738"/>
                </a:lnTo>
                <a:lnTo>
                  <a:pt x="484759" y="72390"/>
                </a:lnTo>
                <a:lnTo>
                  <a:pt x="479171" y="74040"/>
                </a:lnTo>
                <a:lnTo>
                  <a:pt x="473963" y="77343"/>
                </a:lnTo>
                <a:lnTo>
                  <a:pt x="469011" y="82168"/>
                </a:lnTo>
                <a:lnTo>
                  <a:pt x="462534" y="88772"/>
                </a:lnTo>
                <a:lnTo>
                  <a:pt x="458850" y="96012"/>
                </a:lnTo>
                <a:lnTo>
                  <a:pt x="457962" y="103886"/>
                </a:lnTo>
                <a:lnTo>
                  <a:pt x="457936" y="104159"/>
                </a:lnTo>
                <a:lnTo>
                  <a:pt x="458755" y="116125"/>
                </a:lnTo>
                <a:lnTo>
                  <a:pt x="463296" y="128650"/>
                </a:lnTo>
                <a:lnTo>
                  <a:pt x="468208" y="137032"/>
                </a:lnTo>
                <a:lnTo>
                  <a:pt x="475854" y="147035"/>
                </a:lnTo>
                <a:lnTo>
                  <a:pt x="475540" y="118959"/>
                </a:lnTo>
                <a:lnTo>
                  <a:pt x="472439" y="110109"/>
                </a:lnTo>
                <a:lnTo>
                  <a:pt x="471170" y="102869"/>
                </a:lnTo>
                <a:lnTo>
                  <a:pt x="473075" y="96647"/>
                </a:lnTo>
                <a:lnTo>
                  <a:pt x="478154" y="91566"/>
                </a:lnTo>
                <a:lnTo>
                  <a:pt x="483235" y="86359"/>
                </a:lnTo>
                <a:lnTo>
                  <a:pt x="490093" y="84455"/>
                </a:lnTo>
                <a:lnTo>
                  <a:pt x="498348" y="85852"/>
                </a:lnTo>
                <a:lnTo>
                  <a:pt x="501052" y="86500"/>
                </a:lnTo>
                <a:lnTo>
                  <a:pt x="510048" y="90804"/>
                </a:lnTo>
                <a:lnTo>
                  <a:pt x="520760" y="98716"/>
                </a:lnTo>
                <a:lnTo>
                  <a:pt x="533146" y="110236"/>
                </a:lnTo>
                <a:lnTo>
                  <a:pt x="537536" y="114736"/>
                </a:lnTo>
                <a:lnTo>
                  <a:pt x="547809" y="126571"/>
                </a:lnTo>
                <a:lnTo>
                  <a:pt x="554473" y="136663"/>
                </a:lnTo>
                <a:lnTo>
                  <a:pt x="557529" y="145034"/>
                </a:lnTo>
                <a:lnTo>
                  <a:pt x="559053" y="153415"/>
                </a:lnTo>
                <a:lnTo>
                  <a:pt x="557149" y="160147"/>
                </a:lnTo>
                <a:lnTo>
                  <a:pt x="552069" y="165227"/>
                </a:lnTo>
                <a:lnTo>
                  <a:pt x="550583" y="182264"/>
                </a:lnTo>
                <a:lnTo>
                  <a:pt x="561213" y="174371"/>
                </a:lnTo>
                <a:close/>
              </a:path>
              <a:path w="645160" h="659523">
                <a:moveTo>
                  <a:pt x="491236" y="244475"/>
                </a:moveTo>
                <a:lnTo>
                  <a:pt x="497839" y="237871"/>
                </a:lnTo>
                <a:lnTo>
                  <a:pt x="501523" y="230631"/>
                </a:lnTo>
                <a:lnTo>
                  <a:pt x="502285" y="222631"/>
                </a:lnTo>
                <a:lnTo>
                  <a:pt x="502310" y="222357"/>
                </a:lnTo>
                <a:lnTo>
                  <a:pt x="501491" y="210391"/>
                </a:lnTo>
                <a:lnTo>
                  <a:pt x="496950" y="197865"/>
                </a:lnTo>
                <a:lnTo>
                  <a:pt x="492105" y="189663"/>
                </a:lnTo>
                <a:lnTo>
                  <a:pt x="484470" y="179654"/>
                </a:lnTo>
                <a:lnTo>
                  <a:pt x="474599" y="168909"/>
                </a:lnTo>
                <a:lnTo>
                  <a:pt x="470316" y="164780"/>
                </a:lnTo>
                <a:lnTo>
                  <a:pt x="460143" y="155883"/>
                </a:lnTo>
                <a:lnTo>
                  <a:pt x="451231" y="149606"/>
                </a:lnTo>
                <a:lnTo>
                  <a:pt x="444500" y="145669"/>
                </a:lnTo>
                <a:lnTo>
                  <a:pt x="438276" y="143128"/>
                </a:lnTo>
                <a:lnTo>
                  <a:pt x="432181" y="141859"/>
                </a:lnTo>
                <a:lnTo>
                  <a:pt x="426085" y="140588"/>
                </a:lnTo>
                <a:lnTo>
                  <a:pt x="420243" y="140715"/>
                </a:lnTo>
                <a:lnTo>
                  <a:pt x="414654" y="142494"/>
                </a:lnTo>
                <a:lnTo>
                  <a:pt x="409066" y="144144"/>
                </a:lnTo>
                <a:lnTo>
                  <a:pt x="403860" y="147447"/>
                </a:lnTo>
                <a:lnTo>
                  <a:pt x="399034" y="152272"/>
                </a:lnTo>
                <a:lnTo>
                  <a:pt x="392429" y="158877"/>
                </a:lnTo>
                <a:lnTo>
                  <a:pt x="388747" y="165988"/>
                </a:lnTo>
                <a:lnTo>
                  <a:pt x="387985" y="173862"/>
                </a:lnTo>
                <a:lnTo>
                  <a:pt x="387952" y="174216"/>
                </a:lnTo>
                <a:lnTo>
                  <a:pt x="388722" y="186161"/>
                </a:lnTo>
                <a:lnTo>
                  <a:pt x="393191" y="198755"/>
                </a:lnTo>
                <a:lnTo>
                  <a:pt x="398104" y="207080"/>
                </a:lnTo>
                <a:lnTo>
                  <a:pt x="405750" y="217109"/>
                </a:lnTo>
                <a:lnTo>
                  <a:pt x="405431" y="188970"/>
                </a:lnTo>
                <a:lnTo>
                  <a:pt x="402336" y="180212"/>
                </a:lnTo>
                <a:lnTo>
                  <a:pt x="401065" y="172847"/>
                </a:lnTo>
                <a:lnTo>
                  <a:pt x="402971" y="166624"/>
                </a:lnTo>
                <a:lnTo>
                  <a:pt x="408050" y="161544"/>
                </a:lnTo>
                <a:lnTo>
                  <a:pt x="413258" y="156337"/>
                </a:lnTo>
                <a:lnTo>
                  <a:pt x="419988" y="154559"/>
                </a:lnTo>
                <a:lnTo>
                  <a:pt x="428371" y="155956"/>
                </a:lnTo>
                <a:lnTo>
                  <a:pt x="440034" y="160908"/>
                </a:lnTo>
                <a:lnTo>
                  <a:pt x="450727" y="168820"/>
                </a:lnTo>
                <a:lnTo>
                  <a:pt x="463169" y="180340"/>
                </a:lnTo>
                <a:lnTo>
                  <a:pt x="467524" y="184809"/>
                </a:lnTo>
                <a:lnTo>
                  <a:pt x="477740" y="196620"/>
                </a:lnTo>
                <a:lnTo>
                  <a:pt x="484416" y="206744"/>
                </a:lnTo>
                <a:lnTo>
                  <a:pt x="487552" y="215137"/>
                </a:lnTo>
                <a:lnTo>
                  <a:pt x="488950" y="223519"/>
                </a:lnTo>
                <a:lnTo>
                  <a:pt x="487172" y="230250"/>
                </a:lnTo>
                <a:lnTo>
                  <a:pt x="482091" y="235331"/>
                </a:lnTo>
                <a:lnTo>
                  <a:pt x="480565" y="252260"/>
                </a:lnTo>
                <a:lnTo>
                  <a:pt x="491236" y="244475"/>
                </a:lnTo>
                <a:close/>
              </a:path>
              <a:path w="645160" h="659523">
                <a:moveTo>
                  <a:pt x="132714" y="599859"/>
                </a:moveTo>
                <a:lnTo>
                  <a:pt x="122047" y="589216"/>
                </a:lnTo>
                <a:lnTo>
                  <a:pt x="77724" y="633476"/>
                </a:lnTo>
                <a:lnTo>
                  <a:pt x="76962" y="630237"/>
                </a:lnTo>
                <a:lnTo>
                  <a:pt x="76581" y="626681"/>
                </a:lnTo>
                <a:lnTo>
                  <a:pt x="76453" y="622795"/>
                </a:lnTo>
                <a:lnTo>
                  <a:pt x="76326" y="618921"/>
                </a:lnTo>
                <a:lnTo>
                  <a:pt x="76835" y="610869"/>
                </a:lnTo>
                <a:lnTo>
                  <a:pt x="77850" y="598639"/>
                </a:lnTo>
                <a:lnTo>
                  <a:pt x="78590" y="589047"/>
                </a:lnTo>
                <a:lnTo>
                  <a:pt x="79215" y="575713"/>
                </a:lnTo>
                <a:lnTo>
                  <a:pt x="79121" y="565670"/>
                </a:lnTo>
                <a:lnTo>
                  <a:pt x="78612" y="558380"/>
                </a:lnTo>
                <a:lnTo>
                  <a:pt x="77470" y="552259"/>
                </a:lnTo>
                <a:lnTo>
                  <a:pt x="75437" y="547293"/>
                </a:lnTo>
                <a:lnTo>
                  <a:pt x="73406" y="542328"/>
                </a:lnTo>
                <a:lnTo>
                  <a:pt x="70612" y="538035"/>
                </a:lnTo>
                <a:lnTo>
                  <a:pt x="66928" y="534428"/>
                </a:lnTo>
                <a:lnTo>
                  <a:pt x="54265" y="526137"/>
                </a:lnTo>
                <a:lnTo>
                  <a:pt x="41528" y="524141"/>
                </a:lnTo>
                <a:lnTo>
                  <a:pt x="36389" y="524665"/>
                </a:lnTo>
                <a:lnTo>
                  <a:pt x="24794" y="528944"/>
                </a:lnTo>
                <a:lnTo>
                  <a:pt x="13715" y="537502"/>
                </a:lnTo>
                <a:lnTo>
                  <a:pt x="9811" y="541802"/>
                </a:lnTo>
                <a:lnTo>
                  <a:pt x="2850" y="552990"/>
                </a:lnTo>
                <a:lnTo>
                  <a:pt x="0" y="564680"/>
                </a:lnTo>
                <a:lnTo>
                  <a:pt x="38" y="569533"/>
                </a:lnTo>
                <a:lnTo>
                  <a:pt x="3163" y="581288"/>
                </a:lnTo>
                <a:lnTo>
                  <a:pt x="10540" y="592912"/>
                </a:lnTo>
                <a:lnTo>
                  <a:pt x="23113" y="582688"/>
                </a:lnTo>
                <a:lnTo>
                  <a:pt x="17525" y="576986"/>
                </a:lnTo>
                <a:lnTo>
                  <a:pt x="14732" y="570928"/>
                </a:lnTo>
                <a:lnTo>
                  <a:pt x="14732" y="558126"/>
                </a:lnTo>
                <a:lnTo>
                  <a:pt x="17399" y="552259"/>
                </a:lnTo>
                <a:lnTo>
                  <a:pt x="22733" y="546925"/>
                </a:lnTo>
                <a:lnTo>
                  <a:pt x="27812" y="541870"/>
                </a:lnTo>
                <a:lnTo>
                  <a:pt x="33400" y="539280"/>
                </a:lnTo>
                <a:lnTo>
                  <a:pt x="45720" y="539038"/>
                </a:lnTo>
                <a:lnTo>
                  <a:pt x="50926" y="541172"/>
                </a:lnTo>
                <a:lnTo>
                  <a:pt x="55372" y="545566"/>
                </a:lnTo>
                <a:lnTo>
                  <a:pt x="59562" y="549757"/>
                </a:lnTo>
                <a:lnTo>
                  <a:pt x="62229" y="555917"/>
                </a:lnTo>
                <a:lnTo>
                  <a:pt x="63500" y="564070"/>
                </a:lnTo>
                <a:lnTo>
                  <a:pt x="64274" y="574442"/>
                </a:lnTo>
                <a:lnTo>
                  <a:pt x="63987" y="587223"/>
                </a:lnTo>
                <a:lnTo>
                  <a:pt x="62737" y="603072"/>
                </a:lnTo>
                <a:lnTo>
                  <a:pt x="62421" y="606451"/>
                </a:lnTo>
                <a:lnTo>
                  <a:pt x="61637" y="620118"/>
                </a:lnTo>
                <a:lnTo>
                  <a:pt x="61849" y="631228"/>
                </a:lnTo>
                <a:lnTo>
                  <a:pt x="62484" y="638517"/>
                </a:lnTo>
                <a:lnTo>
                  <a:pt x="64008" y="644956"/>
                </a:lnTo>
                <a:lnTo>
                  <a:pt x="66548" y="650532"/>
                </a:lnTo>
                <a:lnTo>
                  <a:pt x="68072" y="653935"/>
                </a:lnTo>
                <a:lnTo>
                  <a:pt x="70231" y="656932"/>
                </a:lnTo>
                <a:lnTo>
                  <a:pt x="73025" y="659523"/>
                </a:lnTo>
                <a:lnTo>
                  <a:pt x="132714" y="599859"/>
                </a:lnTo>
                <a:close/>
              </a:path>
              <a:path w="645160" h="659523">
                <a:moveTo>
                  <a:pt x="105869" y="526465"/>
                </a:moveTo>
                <a:lnTo>
                  <a:pt x="96128" y="514913"/>
                </a:lnTo>
                <a:lnTo>
                  <a:pt x="89709" y="504743"/>
                </a:lnTo>
                <a:lnTo>
                  <a:pt x="86613" y="495960"/>
                </a:lnTo>
                <a:lnTo>
                  <a:pt x="90023" y="532834"/>
                </a:lnTo>
                <a:lnTo>
                  <a:pt x="99949" y="543547"/>
                </a:lnTo>
                <a:lnTo>
                  <a:pt x="102386" y="545951"/>
                </a:lnTo>
                <a:lnTo>
                  <a:pt x="114045" y="556212"/>
                </a:lnTo>
                <a:lnTo>
                  <a:pt x="105869" y="52646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6" name="object 196"/>
          <p:cNvSpPr/>
          <p:nvPr/>
        </p:nvSpPr>
        <p:spPr>
          <a:xfrm>
            <a:off x="4633088" y="3961755"/>
            <a:ext cx="641261" cy="493861"/>
          </a:xfrm>
          <a:custGeom>
            <a:avLst/>
            <a:gdLst/>
            <a:ahLst/>
            <a:cxnLst/>
            <a:rect l="l" t="t" r="r" b="b"/>
            <a:pathLst>
              <a:path w="641261" h="659396">
                <a:moveTo>
                  <a:pt x="164879" y="567900"/>
                </a:moveTo>
                <a:lnTo>
                  <a:pt x="166370" y="550926"/>
                </a:lnTo>
                <a:lnTo>
                  <a:pt x="161289" y="556018"/>
                </a:lnTo>
                <a:lnTo>
                  <a:pt x="154559" y="557847"/>
                </a:lnTo>
                <a:lnTo>
                  <a:pt x="146176" y="556412"/>
                </a:lnTo>
                <a:lnTo>
                  <a:pt x="143476" y="555753"/>
                </a:lnTo>
                <a:lnTo>
                  <a:pt x="134513" y="551432"/>
                </a:lnTo>
                <a:lnTo>
                  <a:pt x="123820" y="543524"/>
                </a:lnTo>
                <a:lnTo>
                  <a:pt x="111378" y="532028"/>
                </a:lnTo>
                <a:lnTo>
                  <a:pt x="105968" y="526398"/>
                </a:lnTo>
                <a:lnTo>
                  <a:pt x="96256" y="514821"/>
                </a:lnTo>
                <a:lnTo>
                  <a:pt x="89841" y="504631"/>
                </a:lnTo>
                <a:lnTo>
                  <a:pt x="90150" y="532707"/>
                </a:lnTo>
                <a:lnTo>
                  <a:pt x="100075" y="543420"/>
                </a:lnTo>
                <a:lnTo>
                  <a:pt x="102513" y="545824"/>
                </a:lnTo>
                <a:lnTo>
                  <a:pt x="114172" y="556085"/>
                </a:lnTo>
                <a:lnTo>
                  <a:pt x="125258" y="563730"/>
                </a:lnTo>
                <a:lnTo>
                  <a:pt x="135760" y="568762"/>
                </a:lnTo>
                <a:lnTo>
                  <a:pt x="145668" y="571182"/>
                </a:lnTo>
                <a:lnTo>
                  <a:pt x="153078" y="571279"/>
                </a:lnTo>
                <a:lnTo>
                  <a:pt x="164879" y="567900"/>
                </a:lnTo>
                <a:close/>
              </a:path>
              <a:path w="641261" h="659396">
                <a:moveTo>
                  <a:pt x="234961" y="497836"/>
                </a:moveTo>
                <a:lnTo>
                  <a:pt x="236474" y="480885"/>
                </a:lnTo>
                <a:lnTo>
                  <a:pt x="231393" y="485978"/>
                </a:lnTo>
                <a:lnTo>
                  <a:pt x="224662" y="487807"/>
                </a:lnTo>
                <a:lnTo>
                  <a:pt x="216280" y="486359"/>
                </a:lnTo>
                <a:lnTo>
                  <a:pt x="213584" y="485701"/>
                </a:lnTo>
                <a:lnTo>
                  <a:pt x="204620" y="481381"/>
                </a:lnTo>
                <a:lnTo>
                  <a:pt x="193926" y="473476"/>
                </a:lnTo>
                <a:lnTo>
                  <a:pt x="181483" y="461987"/>
                </a:lnTo>
                <a:lnTo>
                  <a:pt x="175965" y="456285"/>
                </a:lnTo>
                <a:lnTo>
                  <a:pt x="166228" y="444734"/>
                </a:lnTo>
                <a:lnTo>
                  <a:pt x="159812" y="434566"/>
                </a:lnTo>
                <a:lnTo>
                  <a:pt x="160127" y="462661"/>
                </a:lnTo>
                <a:lnTo>
                  <a:pt x="170052" y="473379"/>
                </a:lnTo>
                <a:lnTo>
                  <a:pt x="172507" y="475782"/>
                </a:lnTo>
                <a:lnTo>
                  <a:pt x="184205" y="486039"/>
                </a:lnTo>
                <a:lnTo>
                  <a:pt x="195280" y="493685"/>
                </a:lnTo>
                <a:lnTo>
                  <a:pt x="205753" y="498720"/>
                </a:lnTo>
                <a:lnTo>
                  <a:pt x="215646" y="501142"/>
                </a:lnTo>
                <a:lnTo>
                  <a:pt x="223199" y="501230"/>
                </a:lnTo>
                <a:lnTo>
                  <a:pt x="234961" y="497836"/>
                </a:lnTo>
                <a:close/>
              </a:path>
              <a:path w="641261" h="659396">
                <a:moveTo>
                  <a:pt x="293226" y="432662"/>
                </a:moveTo>
                <a:lnTo>
                  <a:pt x="304910" y="428216"/>
                </a:lnTo>
                <a:lnTo>
                  <a:pt x="315849" y="419760"/>
                </a:lnTo>
                <a:lnTo>
                  <a:pt x="321011" y="413855"/>
                </a:lnTo>
                <a:lnTo>
                  <a:pt x="327249" y="402513"/>
                </a:lnTo>
                <a:lnTo>
                  <a:pt x="329438" y="390334"/>
                </a:lnTo>
                <a:lnTo>
                  <a:pt x="329264" y="385468"/>
                </a:lnTo>
                <a:lnTo>
                  <a:pt x="325837" y="373279"/>
                </a:lnTo>
                <a:lnTo>
                  <a:pt x="318135" y="362699"/>
                </a:lnTo>
                <a:lnTo>
                  <a:pt x="312674" y="357111"/>
                </a:lnTo>
                <a:lnTo>
                  <a:pt x="306324" y="353758"/>
                </a:lnTo>
                <a:lnTo>
                  <a:pt x="299465" y="352628"/>
                </a:lnTo>
                <a:lnTo>
                  <a:pt x="292480" y="351497"/>
                </a:lnTo>
                <a:lnTo>
                  <a:pt x="285368" y="352806"/>
                </a:lnTo>
                <a:lnTo>
                  <a:pt x="278002" y="356539"/>
                </a:lnTo>
                <a:lnTo>
                  <a:pt x="280797" y="350380"/>
                </a:lnTo>
                <a:lnTo>
                  <a:pt x="281813" y="344652"/>
                </a:lnTo>
                <a:lnTo>
                  <a:pt x="280924" y="339369"/>
                </a:lnTo>
                <a:lnTo>
                  <a:pt x="280035" y="334073"/>
                </a:lnTo>
                <a:lnTo>
                  <a:pt x="277495" y="329323"/>
                </a:lnTo>
                <a:lnTo>
                  <a:pt x="273303" y="325145"/>
                </a:lnTo>
                <a:lnTo>
                  <a:pt x="262076" y="317734"/>
                </a:lnTo>
                <a:lnTo>
                  <a:pt x="249300" y="315633"/>
                </a:lnTo>
                <a:lnTo>
                  <a:pt x="246164" y="315855"/>
                </a:lnTo>
                <a:lnTo>
                  <a:pt x="236854" y="332587"/>
                </a:lnTo>
                <a:lnTo>
                  <a:pt x="241808" y="330479"/>
                </a:lnTo>
                <a:lnTo>
                  <a:pt x="252857" y="330390"/>
                </a:lnTo>
                <a:lnTo>
                  <a:pt x="257683" y="332409"/>
                </a:lnTo>
                <a:lnTo>
                  <a:pt x="261747" y="336473"/>
                </a:lnTo>
                <a:lnTo>
                  <a:pt x="265684" y="340372"/>
                </a:lnTo>
                <a:lnTo>
                  <a:pt x="267588" y="345033"/>
                </a:lnTo>
                <a:lnTo>
                  <a:pt x="267588" y="355866"/>
                </a:lnTo>
                <a:lnTo>
                  <a:pt x="265429" y="360705"/>
                </a:lnTo>
                <a:lnTo>
                  <a:pt x="264667" y="379539"/>
                </a:lnTo>
                <a:lnTo>
                  <a:pt x="269875" y="374332"/>
                </a:lnTo>
                <a:lnTo>
                  <a:pt x="275209" y="368998"/>
                </a:lnTo>
                <a:lnTo>
                  <a:pt x="281432" y="366293"/>
                </a:lnTo>
                <a:lnTo>
                  <a:pt x="295528" y="366179"/>
                </a:lnTo>
                <a:lnTo>
                  <a:pt x="301625" y="368808"/>
                </a:lnTo>
                <a:lnTo>
                  <a:pt x="306959" y="374142"/>
                </a:lnTo>
                <a:lnTo>
                  <a:pt x="312292" y="379399"/>
                </a:lnTo>
                <a:lnTo>
                  <a:pt x="314833" y="385457"/>
                </a:lnTo>
                <a:lnTo>
                  <a:pt x="314833" y="399161"/>
                </a:lnTo>
                <a:lnTo>
                  <a:pt x="312165" y="405231"/>
                </a:lnTo>
                <a:lnTo>
                  <a:pt x="306832" y="410527"/>
                </a:lnTo>
                <a:lnTo>
                  <a:pt x="303402" y="413943"/>
                </a:lnTo>
                <a:lnTo>
                  <a:pt x="299465" y="416306"/>
                </a:lnTo>
                <a:lnTo>
                  <a:pt x="294893" y="417639"/>
                </a:lnTo>
                <a:lnTo>
                  <a:pt x="290195" y="418973"/>
                </a:lnTo>
                <a:lnTo>
                  <a:pt x="285750" y="418909"/>
                </a:lnTo>
                <a:lnTo>
                  <a:pt x="286385" y="433400"/>
                </a:lnTo>
                <a:lnTo>
                  <a:pt x="293226" y="432662"/>
                </a:lnTo>
                <a:close/>
              </a:path>
              <a:path w="641261" h="659396">
                <a:moveTo>
                  <a:pt x="359917" y="375640"/>
                </a:moveTo>
                <a:lnTo>
                  <a:pt x="292735" y="256159"/>
                </a:lnTo>
                <a:lnTo>
                  <a:pt x="283845" y="265049"/>
                </a:lnTo>
                <a:lnTo>
                  <a:pt x="351027" y="384568"/>
                </a:lnTo>
                <a:lnTo>
                  <a:pt x="359917" y="375640"/>
                </a:lnTo>
                <a:close/>
              </a:path>
              <a:path w="641261" h="659396">
                <a:moveTo>
                  <a:pt x="448437" y="283972"/>
                </a:moveTo>
                <a:lnTo>
                  <a:pt x="437896" y="273304"/>
                </a:lnTo>
                <a:lnTo>
                  <a:pt x="393573" y="317601"/>
                </a:lnTo>
                <a:lnTo>
                  <a:pt x="392811" y="314363"/>
                </a:lnTo>
                <a:lnTo>
                  <a:pt x="392302" y="310807"/>
                </a:lnTo>
                <a:lnTo>
                  <a:pt x="392175" y="303047"/>
                </a:lnTo>
                <a:lnTo>
                  <a:pt x="392684" y="295021"/>
                </a:lnTo>
                <a:lnTo>
                  <a:pt x="393700" y="282702"/>
                </a:lnTo>
                <a:lnTo>
                  <a:pt x="394433" y="273213"/>
                </a:lnTo>
                <a:lnTo>
                  <a:pt x="395034" y="259858"/>
                </a:lnTo>
                <a:lnTo>
                  <a:pt x="394842" y="249809"/>
                </a:lnTo>
                <a:lnTo>
                  <a:pt x="394462" y="242570"/>
                </a:lnTo>
                <a:lnTo>
                  <a:pt x="393191" y="236347"/>
                </a:lnTo>
                <a:lnTo>
                  <a:pt x="391287" y="231394"/>
                </a:lnTo>
                <a:lnTo>
                  <a:pt x="389254" y="226441"/>
                </a:lnTo>
                <a:lnTo>
                  <a:pt x="386461" y="222123"/>
                </a:lnTo>
                <a:lnTo>
                  <a:pt x="382777" y="218567"/>
                </a:lnTo>
                <a:lnTo>
                  <a:pt x="370109" y="210269"/>
                </a:lnTo>
                <a:lnTo>
                  <a:pt x="357377" y="208280"/>
                </a:lnTo>
                <a:lnTo>
                  <a:pt x="352201" y="208806"/>
                </a:lnTo>
                <a:lnTo>
                  <a:pt x="340609" y="213079"/>
                </a:lnTo>
                <a:lnTo>
                  <a:pt x="329564" y="221615"/>
                </a:lnTo>
                <a:lnTo>
                  <a:pt x="325660" y="225938"/>
                </a:lnTo>
                <a:lnTo>
                  <a:pt x="318699" y="237128"/>
                </a:lnTo>
                <a:lnTo>
                  <a:pt x="315849" y="248793"/>
                </a:lnTo>
                <a:lnTo>
                  <a:pt x="315876" y="253613"/>
                </a:lnTo>
                <a:lnTo>
                  <a:pt x="318951" y="265365"/>
                </a:lnTo>
                <a:lnTo>
                  <a:pt x="326389" y="276987"/>
                </a:lnTo>
                <a:lnTo>
                  <a:pt x="338963" y="266827"/>
                </a:lnTo>
                <a:lnTo>
                  <a:pt x="333375" y="261112"/>
                </a:lnTo>
                <a:lnTo>
                  <a:pt x="330580" y="255016"/>
                </a:lnTo>
                <a:lnTo>
                  <a:pt x="330580" y="242189"/>
                </a:lnTo>
                <a:lnTo>
                  <a:pt x="333248" y="236347"/>
                </a:lnTo>
                <a:lnTo>
                  <a:pt x="338582" y="231013"/>
                </a:lnTo>
                <a:lnTo>
                  <a:pt x="343535" y="226060"/>
                </a:lnTo>
                <a:lnTo>
                  <a:pt x="349250" y="223393"/>
                </a:lnTo>
                <a:lnTo>
                  <a:pt x="355346" y="223266"/>
                </a:lnTo>
                <a:lnTo>
                  <a:pt x="361441" y="223139"/>
                </a:lnTo>
                <a:lnTo>
                  <a:pt x="366775" y="225298"/>
                </a:lnTo>
                <a:lnTo>
                  <a:pt x="371221" y="229743"/>
                </a:lnTo>
                <a:lnTo>
                  <a:pt x="375412" y="233934"/>
                </a:lnTo>
                <a:lnTo>
                  <a:pt x="378078" y="240030"/>
                </a:lnTo>
                <a:lnTo>
                  <a:pt x="379349" y="248158"/>
                </a:lnTo>
                <a:lnTo>
                  <a:pt x="380122" y="258531"/>
                </a:lnTo>
                <a:lnTo>
                  <a:pt x="379836" y="271328"/>
                </a:lnTo>
                <a:lnTo>
                  <a:pt x="378587" y="287147"/>
                </a:lnTo>
                <a:lnTo>
                  <a:pt x="378266" y="290597"/>
                </a:lnTo>
                <a:lnTo>
                  <a:pt x="377486" y="304265"/>
                </a:lnTo>
                <a:lnTo>
                  <a:pt x="377698" y="315353"/>
                </a:lnTo>
                <a:lnTo>
                  <a:pt x="378333" y="322643"/>
                </a:lnTo>
                <a:lnTo>
                  <a:pt x="379857" y="329082"/>
                </a:lnTo>
                <a:lnTo>
                  <a:pt x="382397" y="334657"/>
                </a:lnTo>
                <a:lnTo>
                  <a:pt x="383921" y="338061"/>
                </a:lnTo>
                <a:lnTo>
                  <a:pt x="386079" y="341058"/>
                </a:lnTo>
                <a:lnTo>
                  <a:pt x="388874" y="343649"/>
                </a:lnTo>
                <a:lnTo>
                  <a:pt x="448437" y="283972"/>
                </a:lnTo>
                <a:close/>
              </a:path>
              <a:path w="641261" h="659396">
                <a:moveTo>
                  <a:pt x="421718" y="210574"/>
                </a:moveTo>
                <a:lnTo>
                  <a:pt x="411977" y="199005"/>
                </a:lnTo>
                <a:lnTo>
                  <a:pt x="405558" y="188843"/>
                </a:lnTo>
                <a:lnTo>
                  <a:pt x="402463" y="180086"/>
                </a:lnTo>
                <a:lnTo>
                  <a:pt x="405877" y="216982"/>
                </a:lnTo>
                <a:lnTo>
                  <a:pt x="415798" y="227711"/>
                </a:lnTo>
                <a:lnTo>
                  <a:pt x="418200" y="230072"/>
                </a:lnTo>
                <a:lnTo>
                  <a:pt x="429869" y="240320"/>
                </a:lnTo>
                <a:lnTo>
                  <a:pt x="421718" y="210574"/>
                </a:lnTo>
                <a:close/>
              </a:path>
              <a:path w="641261" h="659396">
                <a:moveTo>
                  <a:pt x="480588" y="252152"/>
                </a:moveTo>
                <a:lnTo>
                  <a:pt x="491236" y="244348"/>
                </a:lnTo>
                <a:lnTo>
                  <a:pt x="497839" y="237744"/>
                </a:lnTo>
                <a:lnTo>
                  <a:pt x="501523" y="230505"/>
                </a:lnTo>
                <a:lnTo>
                  <a:pt x="502285" y="222504"/>
                </a:lnTo>
                <a:lnTo>
                  <a:pt x="502318" y="222199"/>
                </a:lnTo>
                <a:lnTo>
                  <a:pt x="501600" y="210247"/>
                </a:lnTo>
                <a:lnTo>
                  <a:pt x="497077" y="197739"/>
                </a:lnTo>
                <a:lnTo>
                  <a:pt x="492145" y="189495"/>
                </a:lnTo>
                <a:lnTo>
                  <a:pt x="484513" y="179505"/>
                </a:lnTo>
                <a:lnTo>
                  <a:pt x="474599" y="168783"/>
                </a:lnTo>
                <a:lnTo>
                  <a:pt x="470367" y="164653"/>
                </a:lnTo>
                <a:lnTo>
                  <a:pt x="460236" y="155756"/>
                </a:lnTo>
                <a:lnTo>
                  <a:pt x="451230" y="149479"/>
                </a:lnTo>
                <a:lnTo>
                  <a:pt x="444626" y="145542"/>
                </a:lnTo>
                <a:lnTo>
                  <a:pt x="438276" y="143002"/>
                </a:lnTo>
                <a:lnTo>
                  <a:pt x="432308" y="141732"/>
                </a:lnTo>
                <a:lnTo>
                  <a:pt x="426212" y="140462"/>
                </a:lnTo>
                <a:lnTo>
                  <a:pt x="420370" y="140589"/>
                </a:lnTo>
                <a:lnTo>
                  <a:pt x="414782" y="142367"/>
                </a:lnTo>
                <a:lnTo>
                  <a:pt x="409193" y="144018"/>
                </a:lnTo>
                <a:lnTo>
                  <a:pt x="403987" y="147320"/>
                </a:lnTo>
                <a:lnTo>
                  <a:pt x="399161" y="152146"/>
                </a:lnTo>
                <a:lnTo>
                  <a:pt x="392557" y="158750"/>
                </a:lnTo>
                <a:lnTo>
                  <a:pt x="388874" y="165862"/>
                </a:lnTo>
                <a:lnTo>
                  <a:pt x="388112" y="173736"/>
                </a:lnTo>
                <a:lnTo>
                  <a:pt x="388067" y="174150"/>
                </a:lnTo>
                <a:lnTo>
                  <a:pt x="388809" y="186066"/>
                </a:lnTo>
                <a:lnTo>
                  <a:pt x="393318" y="198628"/>
                </a:lnTo>
                <a:lnTo>
                  <a:pt x="398231" y="206953"/>
                </a:lnTo>
                <a:lnTo>
                  <a:pt x="405877" y="216982"/>
                </a:lnTo>
                <a:lnTo>
                  <a:pt x="402463" y="180086"/>
                </a:lnTo>
                <a:lnTo>
                  <a:pt x="401192" y="172720"/>
                </a:lnTo>
                <a:lnTo>
                  <a:pt x="403098" y="166497"/>
                </a:lnTo>
                <a:lnTo>
                  <a:pt x="408177" y="161417"/>
                </a:lnTo>
                <a:lnTo>
                  <a:pt x="413385" y="156210"/>
                </a:lnTo>
                <a:lnTo>
                  <a:pt x="420115" y="154432"/>
                </a:lnTo>
                <a:lnTo>
                  <a:pt x="428498" y="155829"/>
                </a:lnTo>
                <a:lnTo>
                  <a:pt x="440106" y="160781"/>
                </a:lnTo>
                <a:lnTo>
                  <a:pt x="450830" y="168693"/>
                </a:lnTo>
                <a:lnTo>
                  <a:pt x="463296" y="180213"/>
                </a:lnTo>
                <a:lnTo>
                  <a:pt x="467589" y="184617"/>
                </a:lnTo>
                <a:lnTo>
                  <a:pt x="477830" y="196456"/>
                </a:lnTo>
                <a:lnTo>
                  <a:pt x="484491" y="206601"/>
                </a:lnTo>
                <a:lnTo>
                  <a:pt x="487552" y="215011"/>
                </a:lnTo>
                <a:lnTo>
                  <a:pt x="489076" y="223393"/>
                </a:lnTo>
                <a:lnTo>
                  <a:pt x="487299" y="230124"/>
                </a:lnTo>
                <a:lnTo>
                  <a:pt x="482091" y="235204"/>
                </a:lnTo>
                <a:lnTo>
                  <a:pt x="477012" y="240284"/>
                </a:lnTo>
                <a:lnTo>
                  <a:pt x="470280" y="242062"/>
                </a:lnTo>
                <a:lnTo>
                  <a:pt x="461899" y="240665"/>
                </a:lnTo>
                <a:lnTo>
                  <a:pt x="459289" y="240034"/>
                </a:lnTo>
                <a:lnTo>
                  <a:pt x="450346" y="235742"/>
                </a:lnTo>
                <a:lnTo>
                  <a:pt x="439638" y="227824"/>
                </a:lnTo>
                <a:lnTo>
                  <a:pt x="427227" y="216281"/>
                </a:lnTo>
                <a:lnTo>
                  <a:pt x="421718" y="210574"/>
                </a:lnTo>
                <a:lnTo>
                  <a:pt x="429869" y="240320"/>
                </a:lnTo>
                <a:lnTo>
                  <a:pt x="440964" y="247963"/>
                </a:lnTo>
                <a:lnTo>
                  <a:pt x="451474" y="252992"/>
                </a:lnTo>
                <a:lnTo>
                  <a:pt x="461390" y="255397"/>
                </a:lnTo>
                <a:lnTo>
                  <a:pt x="468772" y="255500"/>
                </a:lnTo>
                <a:lnTo>
                  <a:pt x="480588" y="252152"/>
                </a:lnTo>
                <a:close/>
              </a:path>
              <a:path w="641261" h="659396">
                <a:moveTo>
                  <a:pt x="550655" y="182137"/>
                </a:moveTo>
                <a:lnTo>
                  <a:pt x="552196" y="165100"/>
                </a:lnTo>
                <a:lnTo>
                  <a:pt x="547115" y="170180"/>
                </a:lnTo>
                <a:lnTo>
                  <a:pt x="540385" y="172085"/>
                </a:lnTo>
                <a:lnTo>
                  <a:pt x="532002" y="170561"/>
                </a:lnTo>
                <a:lnTo>
                  <a:pt x="529302" y="169912"/>
                </a:lnTo>
                <a:lnTo>
                  <a:pt x="520339" y="165608"/>
                </a:lnTo>
                <a:lnTo>
                  <a:pt x="509646" y="157696"/>
                </a:lnTo>
                <a:lnTo>
                  <a:pt x="497204" y="146177"/>
                </a:lnTo>
                <a:lnTo>
                  <a:pt x="491701" y="140513"/>
                </a:lnTo>
                <a:lnTo>
                  <a:pt x="481993" y="128994"/>
                </a:lnTo>
                <a:lnTo>
                  <a:pt x="475591" y="118817"/>
                </a:lnTo>
                <a:lnTo>
                  <a:pt x="475841" y="146886"/>
                </a:lnTo>
                <a:lnTo>
                  <a:pt x="485775" y="157607"/>
                </a:lnTo>
                <a:lnTo>
                  <a:pt x="488351" y="160137"/>
                </a:lnTo>
                <a:lnTo>
                  <a:pt x="500038" y="170384"/>
                </a:lnTo>
                <a:lnTo>
                  <a:pt x="511124" y="178014"/>
                </a:lnTo>
                <a:lnTo>
                  <a:pt x="521610" y="183026"/>
                </a:lnTo>
                <a:lnTo>
                  <a:pt x="531495" y="185420"/>
                </a:lnTo>
                <a:lnTo>
                  <a:pt x="538901" y="185518"/>
                </a:lnTo>
                <a:lnTo>
                  <a:pt x="550655" y="182137"/>
                </a:lnTo>
                <a:close/>
              </a:path>
              <a:path w="641261" h="659396">
                <a:moveTo>
                  <a:pt x="606165" y="117957"/>
                </a:moveTo>
                <a:lnTo>
                  <a:pt x="618043" y="114658"/>
                </a:lnTo>
                <a:lnTo>
                  <a:pt x="628903" y="106553"/>
                </a:lnTo>
                <a:lnTo>
                  <a:pt x="637014" y="95752"/>
                </a:lnTo>
                <a:lnTo>
                  <a:pt x="640968" y="83820"/>
                </a:lnTo>
                <a:lnTo>
                  <a:pt x="641261" y="81643"/>
                </a:lnTo>
                <a:lnTo>
                  <a:pt x="640684" y="69615"/>
                </a:lnTo>
                <a:lnTo>
                  <a:pt x="636524" y="57023"/>
                </a:lnTo>
                <a:lnTo>
                  <a:pt x="630621" y="46784"/>
                </a:lnTo>
                <a:lnTo>
                  <a:pt x="622842" y="36642"/>
                </a:lnTo>
                <a:lnTo>
                  <a:pt x="612775" y="25781"/>
                </a:lnTo>
                <a:lnTo>
                  <a:pt x="603155" y="16850"/>
                </a:lnTo>
                <a:lnTo>
                  <a:pt x="592864" y="9093"/>
                </a:lnTo>
                <a:lnTo>
                  <a:pt x="583564" y="4191"/>
                </a:lnTo>
                <a:lnTo>
                  <a:pt x="575183" y="889"/>
                </a:lnTo>
                <a:lnTo>
                  <a:pt x="567054" y="0"/>
                </a:lnTo>
                <a:lnTo>
                  <a:pt x="558926" y="1778"/>
                </a:lnTo>
                <a:lnTo>
                  <a:pt x="550926" y="3429"/>
                </a:lnTo>
                <a:lnTo>
                  <a:pt x="544067" y="7239"/>
                </a:lnTo>
                <a:lnTo>
                  <a:pt x="538099" y="13081"/>
                </a:lnTo>
                <a:lnTo>
                  <a:pt x="533983" y="17782"/>
                </a:lnTo>
                <a:lnTo>
                  <a:pt x="528056" y="29052"/>
                </a:lnTo>
                <a:lnTo>
                  <a:pt x="526288" y="41783"/>
                </a:lnTo>
                <a:lnTo>
                  <a:pt x="527148" y="49406"/>
                </a:lnTo>
                <a:lnTo>
                  <a:pt x="531742" y="61061"/>
                </a:lnTo>
                <a:lnTo>
                  <a:pt x="540258" y="72009"/>
                </a:lnTo>
                <a:lnTo>
                  <a:pt x="541527" y="32131"/>
                </a:lnTo>
                <a:lnTo>
                  <a:pt x="543813" y="25781"/>
                </a:lnTo>
                <a:lnTo>
                  <a:pt x="548639" y="20955"/>
                </a:lnTo>
                <a:lnTo>
                  <a:pt x="553465" y="16129"/>
                </a:lnTo>
                <a:lnTo>
                  <a:pt x="559435" y="13970"/>
                </a:lnTo>
                <a:lnTo>
                  <a:pt x="566547" y="14351"/>
                </a:lnTo>
                <a:lnTo>
                  <a:pt x="573659" y="14605"/>
                </a:lnTo>
                <a:lnTo>
                  <a:pt x="580389" y="18034"/>
                </a:lnTo>
                <a:lnTo>
                  <a:pt x="586739" y="24384"/>
                </a:lnTo>
                <a:lnTo>
                  <a:pt x="593089" y="30734"/>
                </a:lnTo>
                <a:lnTo>
                  <a:pt x="596391" y="37338"/>
                </a:lnTo>
                <a:lnTo>
                  <a:pt x="596646" y="44196"/>
                </a:lnTo>
                <a:lnTo>
                  <a:pt x="597026" y="51181"/>
                </a:lnTo>
                <a:lnTo>
                  <a:pt x="594613" y="57150"/>
                </a:lnTo>
                <a:lnTo>
                  <a:pt x="589407" y="62230"/>
                </a:lnTo>
                <a:lnTo>
                  <a:pt x="584326" y="67310"/>
                </a:lnTo>
                <a:lnTo>
                  <a:pt x="578230" y="69850"/>
                </a:lnTo>
                <a:lnTo>
                  <a:pt x="571246" y="69723"/>
                </a:lnTo>
                <a:lnTo>
                  <a:pt x="564134" y="69596"/>
                </a:lnTo>
                <a:lnTo>
                  <a:pt x="557784" y="66675"/>
                </a:lnTo>
                <a:lnTo>
                  <a:pt x="551941" y="60960"/>
                </a:lnTo>
                <a:lnTo>
                  <a:pt x="545591" y="54483"/>
                </a:lnTo>
                <a:lnTo>
                  <a:pt x="542163" y="47498"/>
                </a:lnTo>
                <a:lnTo>
                  <a:pt x="546005" y="77007"/>
                </a:lnTo>
                <a:lnTo>
                  <a:pt x="557309" y="83292"/>
                </a:lnTo>
                <a:lnTo>
                  <a:pt x="569467" y="85598"/>
                </a:lnTo>
                <a:lnTo>
                  <a:pt x="573611" y="85495"/>
                </a:lnTo>
                <a:lnTo>
                  <a:pt x="585923" y="82334"/>
                </a:lnTo>
                <a:lnTo>
                  <a:pt x="596518" y="74803"/>
                </a:lnTo>
                <a:lnTo>
                  <a:pt x="600963" y="70358"/>
                </a:lnTo>
                <a:lnTo>
                  <a:pt x="604012" y="65024"/>
                </a:lnTo>
                <a:lnTo>
                  <a:pt x="605663" y="59055"/>
                </a:lnTo>
                <a:lnTo>
                  <a:pt x="607313" y="52959"/>
                </a:lnTo>
                <a:lnTo>
                  <a:pt x="607440" y="47117"/>
                </a:lnTo>
                <a:lnTo>
                  <a:pt x="606171" y="41402"/>
                </a:lnTo>
                <a:lnTo>
                  <a:pt x="608457" y="43561"/>
                </a:lnTo>
                <a:lnTo>
                  <a:pt x="613028" y="48133"/>
                </a:lnTo>
                <a:lnTo>
                  <a:pt x="616965" y="53213"/>
                </a:lnTo>
                <a:lnTo>
                  <a:pt x="620395" y="58674"/>
                </a:lnTo>
                <a:lnTo>
                  <a:pt x="623697" y="64262"/>
                </a:lnTo>
                <a:lnTo>
                  <a:pt x="625855" y="69088"/>
                </a:lnTo>
                <a:lnTo>
                  <a:pt x="626745" y="73406"/>
                </a:lnTo>
                <a:lnTo>
                  <a:pt x="627761" y="77597"/>
                </a:lnTo>
                <a:lnTo>
                  <a:pt x="627761" y="81788"/>
                </a:lnTo>
                <a:lnTo>
                  <a:pt x="626745" y="85979"/>
                </a:lnTo>
                <a:lnTo>
                  <a:pt x="625728" y="90043"/>
                </a:lnTo>
                <a:lnTo>
                  <a:pt x="623442" y="93853"/>
                </a:lnTo>
                <a:lnTo>
                  <a:pt x="620140" y="97282"/>
                </a:lnTo>
                <a:lnTo>
                  <a:pt x="616076" y="101219"/>
                </a:lnTo>
                <a:lnTo>
                  <a:pt x="611759" y="103378"/>
                </a:lnTo>
                <a:lnTo>
                  <a:pt x="606933" y="103632"/>
                </a:lnTo>
                <a:lnTo>
                  <a:pt x="602107" y="103886"/>
                </a:lnTo>
                <a:lnTo>
                  <a:pt x="596773" y="101981"/>
                </a:lnTo>
                <a:lnTo>
                  <a:pt x="590803" y="97917"/>
                </a:lnTo>
                <a:lnTo>
                  <a:pt x="581151" y="109601"/>
                </a:lnTo>
                <a:lnTo>
                  <a:pt x="582115" y="110319"/>
                </a:lnTo>
                <a:lnTo>
                  <a:pt x="593823" y="116482"/>
                </a:lnTo>
                <a:lnTo>
                  <a:pt x="605789" y="117983"/>
                </a:lnTo>
                <a:lnTo>
                  <a:pt x="606165" y="117957"/>
                </a:lnTo>
                <a:close/>
              </a:path>
              <a:path w="641261" h="659396">
                <a:moveTo>
                  <a:pt x="542163" y="47498"/>
                </a:moveTo>
                <a:lnTo>
                  <a:pt x="541782" y="39751"/>
                </a:lnTo>
                <a:lnTo>
                  <a:pt x="541527" y="32131"/>
                </a:lnTo>
                <a:lnTo>
                  <a:pt x="540258" y="72009"/>
                </a:lnTo>
                <a:lnTo>
                  <a:pt x="546005" y="77007"/>
                </a:lnTo>
                <a:lnTo>
                  <a:pt x="542163" y="47498"/>
                </a:lnTo>
                <a:close/>
              </a:path>
              <a:path w="641261" h="659396">
                <a:moveTo>
                  <a:pt x="561339" y="174244"/>
                </a:moveTo>
                <a:lnTo>
                  <a:pt x="567943" y="167640"/>
                </a:lnTo>
                <a:lnTo>
                  <a:pt x="571626" y="160401"/>
                </a:lnTo>
                <a:lnTo>
                  <a:pt x="572388" y="152527"/>
                </a:lnTo>
                <a:lnTo>
                  <a:pt x="572424" y="152142"/>
                </a:lnTo>
                <a:lnTo>
                  <a:pt x="571583" y="140212"/>
                </a:lnTo>
                <a:lnTo>
                  <a:pt x="567054" y="127635"/>
                </a:lnTo>
                <a:lnTo>
                  <a:pt x="562245" y="119488"/>
                </a:lnTo>
                <a:lnTo>
                  <a:pt x="554598" y="109486"/>
                </a:lnTo>
                <a:lnTo>
                  <a:pt x="544702" y="98806"/>
                </a:lnTo>
                <a:lnTo>
                  <a:pt x="540420" y="94632"/>
                </a:lnTo>
                <a:lnTo>
                  <a:pt x="530247" y="85740"/>
                </a:lnTo>
                <a:lnTo>
                  <a:pt x="521335" y="79502"/>
                </a:lnTo>
                <a:lnTo>
                  <a:pt x="514730" y="75565"/>
                </a:lnTo>
                <a:lnTo>
                  <a:pt x="508380" y="72898"/>
                </a:lnTo>
                <a:lnTo>
                  <a:pt x="502285" y="71628"/>
                </a:lnTo>
                <a:lnTo>
                  <a:pt x="496188" y="70358"/>
                </a:lnTo>
                <a:lnTo>
                  <a:pt x="490474" y="70612"/>
                </a:lnTo>
                <a:lnTo>
                  <a:pt x="484759" y="72263"/>
                </a:lnTo>
                <a:lnTo>
                  <a:pt x="479171" y="73914"/>
                </a:lnTo>
                <a:lnTo>
                  <a:pt x="473963" y="77216"/>
                </a:lnTo>
                <a:lnTo>
                  <a:pt x="469138" y="82042"/>
                </a:lnTo>
                <a:lnTo>
                  <a:pt x="462534" y="88646"/>
                </a:lnTo>
                <a:lnTo>
                  <a:pt x="458850" y="95885"/>
                </a:lnTo>
                <a:lnTo>
                  <a:pt x="458088" y="103759"/>
                </a:lnTo>
                <a:lnTo>
                  <a:pt x="458063" y="104032"/>
                </a:lnTo>
                <a:lnTo>
                  <a:pt x="458882" y="115998"/>
                </a:lnTo>
                <a:lnTo>
                  <a:pt x="463423" y="128524"/>
                </a:lnTo>
                <a:lnTo>
                  <a:pt x="468222" y="136864"/>
                </a:lnTo>
                <a:lnTo>
                  <a:pt x="475841" y="146886"/>
                </a:lnTo>
                <a:lnTo>
                  <a:pt x="475591" y="118817"/>
                </a:lnTo>
                <a:lnTo>
                  <a:pt x="472439" y="109982"/>
                </a:lnTo>
                <a:lnTo>
                  <a:pt x="471170" y="102743"/>
                </a:lnTo>
                <a:lnTo>
                  <a:pt x="473075" y="96520"/>
                </a:lnTo>
                <a:lnTo>
                  <a:pt x="478154" y="91440"/>
                </a:lnTo>
                <a:lnTo>
                  <a:pt x="483362" y="86233"/>
                </a:lnTo>
                <a:lnTo>
                  <a:pt x="490092" y="84328"/>
                </a:lnTo>
                <a:lnTo>
                  <a:pt x="498475" y="85725"/>
                </a:lnTo>
                <a:lnTo>
                  <a:pt x="510138" y="90677"/>
                </a:lnTo>
                <a:lnTo>
                  <a:pt x="520831" y="98589"/>
                </a:lnTo>
                <a:lnTo>
                  <a:pt x="533273" y="110109"/>
                </a:lnTo>
                <a:lnTo>
                  <a:pt x="537660" y="114609"/>
                </a:lnTo>
                <a:lnTo>
                  <a:pt x="547899" y="126444"/>
                </a:lnTo>
                <a:lnTo>
                  <a:pt x="554544" y="136536"/>
                </a:lnTo>
                <a:lnTo>
                  <a:pt x="557657" y="144907"/>
                </a:lnTo>
                <a:lnTo>
                  <a:pt x="559053" y="153289"/>
                </a:lnTo>
                <a:lnTo>
                  <a:pt x="557276" y="160020"/>
                </a:lnTo>
                <a:lnTo>
                  <a:pt x="552196" y="165100"/>
                </a:lnTo>
                <a:lnTo>
                  <a:pt x="550655" y="182137"/>
                </a:lnTo>
                <a:lnTo>
                  <a:pt x="561339" y="174244"/>
                </a:lnTo>
                <a:close/>
              </a:path>
              <a:path w="641261" h="659396">
                <a:moveTo>
                  <a:pt x="285750" y="418909"/>
                </a:moveTo>
                <a:lnTo>
                  <a:pt x="281304" y="417461"/>
                </a:lnTo>
                <a:lnTo>
                  <a:pt x="276860" y="416001"/>
                </a:lnTo>
                <a:lnTo>
                  <a:pt x="273050" y="413689"/>
                </a:lnTo>
                <a:lnTo>
                  <a:pt x="269875" y="410527"/>
                </a:lnTo>
                <a:lnTo>
                  <a:pt x="264667" y="405358"/>
                </a:lnTo>
                <a:lnTo>
                  <a:pt x="262127" y="399338"/>
                </a:lnTo>
                <a:lnTo>
                  <a:pt x="262000" y="385584"/>
                </a:lnTo>
                <a:lnTo>
                  <a:pt x="264667" y="379539"/>
                </a:lnTo>
                <a:lnTo>
                  <a:pt x="265429" y="360705"/>
                </a:lnTo>
                <a:lnTo>
                  <a:pt x="261112" y="364972"/>
                </a:lnTo>
                <a:lnTo>
                  <a:pt x="256793" y="369366"/>
                </a:lnTo>
                <a:lnTo>
                  <a:pt x="251840" y="371576"/>
                </a:lnTo>
                <a:lnTo>
                  <a:pt x="240918" y="371665"/>
                </a:lnTo>
                <a:lnTo>
                  <a:pt x="236092" y="369544"/>
                </a:lnTo>
                <a:lnTo>
                  <a:pt x="231775" y="365277"/>
                </a:lnTo>
                <a:lnTo>
                  <a:pt x="227964" y="361505"/>
                </a:lnTo>
                <a:lnTo>
                  <a:pt x="226187" y="356870"/>
                </a:lnTo>
                <a:lnTo>
                  <a:pt x="226313" y="345871"/>
                </a:lnTo>
                <a:lnTo>
                  <a:pt x="228473" y="341007"/>
                </a:lnTo>
                <a:lnTo>
                  <a:pt x="232663" y="336778"/>
                </a:lnTo>
                <a:lnTo>
                  <a:pt x="236854" y="332587"/>
                </a:lnTo>
                <a:lnTo>
                  <a:pt x="246164" y="315855"/>
                </a:lnTo>
                <a:lnTo>
                  <a:pt x="234378" y="319562"/>
                </a:lnTo>
                <a:lnTo>
                  <a:pt x="223392" y="327787"/>
                </a:lnTo>
                <a:lnTo>
                  <a:pt x="221155" y="330185"/>
                </a:lnTo>
                <a:lnTo>
                  <a:pt x="213967" y="341350"/>
                </a:lnTo>
                <a:lnTo>
                  <a:pt x="211327" y="353339"/>
                </a:lnTo>
                <a:lnTo>
                  <a:pt x="211320" y="353635"/>
                </a:lnTo>
                <a:lnTo>
                  <a:pt x="213570" y="366269"/>
                </a:lnTo>
                <a:lnTo>
                  <a:pt x="220852" y="376974"/>
                </a:lnTo>
                <a:lnTo>
                  <a:pt x="225171" y="381330"/>
                </a:lnTo>
                <a:lnTo>
                  <a:pt x="229997" y="383959"/>
                </a:lnTo>
                <a:lnTo>
                  <a:pt x="235330" y="384860"/>
                </a:lnTo>
                <a:lnTo>
                  <a:pt x="240664" y="385762"/>
                </a:lnTo>
                <a:lnTo>
                  <a:pt x="246507" y="384759"/>
                </a:lnTo>
                <a:lnTo>
                  <a:pt x="252729" y="381838"/>
                </a:lnTo>
                <a:lnTo>
                  <a:pt x="248665" y="388785"/>
                </a:lnTo>
                <a:lnTo>
                  <a:pt x="247141" y="395719"/>
                </a:lnTo>
                <a:lnTo>
                  <a:pt x="248158" y="402653"/>
                </a:lnTo>
                <a:lnTo>
                  <a:pt x="249174" y="409587"/>
                </a:lnTo>
                <a:lnTo>
                  <a:pt x="252602" y="415988"/>
                </a:lnTo>
                <a:lnTo>
                  <a:pt x="258445" y="421855"/>
                </a:lnTo>
                <a:lnTo>
                  <a:pt x="262429" y="425408"/>
                </a:lnTo>
                <a:lnTo>
                  <a:pt x="273635" y="431521"/>
                </a:lnTo>
                <a:lnTo>
                  <a:pt x="286385" y="433400"/>
                </a:lnTo>
                <a:lnTo>
                  <a:pt x="285750" y="418909"/>
                </a:lnTo>
                <a:close/>
              </a:path>
              <a:path w="641261" h="659396">
                <a:moveTo>
                  <a:pt x="245617" y="489991"/>
                </a:moveTo>
                <a:lnTo>
                  <a:pt x="252222" y="483387"/>
                </a:lnTo>
                <a:lnTo>
                  <a:pt x="255904" y="476148"/>
                </a:lnTo>
                <a:lnTo>
                  <a:pt x="256666" y="468261"/>
                </a:lnTo>
                <a:lnTo>
                  <a:pt x="256698" y="467921"/>
                </a:lnTo>
                <a:lnTo>
                  <a:pt x="255866" y="455967"/>
                </a:lnTo>
                <a:lnTo>
                  <a:pt x="251333" y="443420"/>
                </a:lnTo>
                <a:lnTo>
                  <a:pt x="246502" y="435218"/>
                </a:lnTo>
                <a:lnTo>
                  <a:pt x="238862" y="425213"/>
                </a:lnTo>
                <a:lnTo>
                  <a:pt x="228980" y="414515"/>
                </a:lnTo>
                <a:lnTo>
                  <a:pt x="224704" y="410372"/>
                </a:lnTo>
                <a:lnTo>
                  <a:pt x="214528" y="401472"/>
                </a:lnTo>
                <a:lnTo>
                  <a:pt x="205612" y="395224"/>
                </a:lnTo>
                <a:lnTo>
                  <a:pt x="199009" y="391299"/>
                </a:lnTo>
                <a:lnTo>
                  <a:pt x="192659" y="388696"/>
                </a:lnTo>
                <a:lnTo>
                  <a:pt x="186562" y="387400"/>
                </a:lnTo>
                <a:lnTo>
                  <a:pt x="180466" y="386105"/>
                </a:lnTo>
                <a:lnTo>
                  <a:pt x="174625" y="386308"/>
                </a:lnTo>
                <a:lnTo>
                  <a:pt x="169037" y="388010"/>
                </a:lnTo>
                <a:lnTo>
                  <a:pt x="163449" y="389724"/>
                </a:lnTo>
                <a:lnTo>
                  <a:pt x="158241" y="392988"/>
                </a:lnTo>
                <a:lnTo>
                  <a:pt x="153415" y="397840"/>
                </a:lnTo>
                <a:lnTo>
                  <a:pt x="146812" y="404406"/>
                </a:lnTo>
                <a:lnTo>
                  <a:pt x="143128" y="411619"/>
                </a:lnTo>
                <a:lnTo>
                  <a:pt x="142366" y="419481"/>
                </a:lnTo>
                <a:lnTo>
                  <a:pt x="142338" y="419789"/>
                </a:lnTo>
                <a:lnTo>
                  <a:pt x="143099" y="431740"/>
                </a:lnTo>
                <a:lnTo>
                  <a:pt x="147574" y="444322"/>
                </a:lnTo>
                <a:lnTo>
                  <a:pt x="152478" y="452656"/>
                </a:lnTo>
                <a:lnTo>
                  <a:pt x="160127" y="462661"/>
                </a:lnTo>
                <a:lnTo>
                  <a:pt x="159812" y="434566"/>
                </a:lnTo>
                <a:lnTo>
                  <a:pt x="156717" y="425780"/>
                </a:lnTo>
                <a:lnTo>
                  <a:pt x="155448" y="418439"/>
                </a:lnTo>
                <a:lnTo>
                  <a:pt x="157352" y="412216"/>
                </a:lnTo>
                <a:lnTo>
                  <a:pt x="162433" y="407136"/>
                </a:lnTo>
                <a:lnTo>
                  <a:pt x="167639" y="401955"/>
                </a:lnTo>
                <a:lnTo>
                  <a:pt x="174371" y="400088"/>
                </a:lnTo>
                <a:lnTo>
                  <a:pt x="182752" y="401497"/>
                </a:lnTo>
                <a:lnTo>
                  <a:pt x="194423" y="406474"/>
                </a:lnTo>
                <a:lnTo>
                  <a:pt x="205113" y="414390"/>
                </a:lnTo>
                <a:lnTo>
                  <a:pt x="217550" y="425907"/>
                </a:lnTo>
                <a:lnTo>
                  <a:pt x="221880" y="430359"/>
                </a:lnTo>
                <a:lnTo>
                  <a:pt x="232110" y="442176"/>
                </a:lnTo>
                <a:lnTo>
                  <a:pt x="238795" y="452278"/>
                </a:lnTo>
                <a:lnTo>
                  <a:pt x="241935" y="460667"/>
                </a:lnTo>
                <a:lnTo>
                  <a:pt x="243332" y="469049"/>
                </a:lnTo>
                <a:lnTo>
                  <a:pt x="241553" y="475792"/>
                </a:lnTo>
                <a:lnTo>
                  <a:pt x="236474" y="480885"/>
                </a:lnTo>
                <a:lnTo>
                  <a:pt x="234961" y="497836"/>
                </a:lnTo>
                <a:lnTo>
                  <a:pt x="245617" y="489991"/>
                </a:lnTo>
                <a:close/>
              </a:path>
              <a:path w="641261" h="659396">
                <a:moveTo>
                  <a:pt x="175513" y="560044"/>
                </a:moveTo>
                <a:lnTo>
                  <a:pt x="182117" y="553440"/>
                </a:lnTo>
                <a:lnTo>
                  <a:pt x="185800" y="546188"/>
                </a:lnTo>
                <a:lnTo>
                  <a:pt x="186562" y="538314"/>
                </a:lnTo>
                <a:lnTo>
                  <a:pt x="186594" y="537974"/>
                </a:lnTo>
                <a:lnTo>
                  <a:pt x="185762" y="526010"/>
                </a:lnTo>
                <a:lnTo>
                  <a:pt x="181228" y="513473"/>
                </a:lnTo>
                <a:lnTo>
                  <a:pt x="176422" y="505266"/>
                </a:lnTo>
                <a:lnTo>
                  <a:pt x="168814" y="495263"/>
                </a:lnTo>
                <a:lnTo>
                  <a:pt x="158876" y="484568"/>
                </a:lnTo>
                <a:lnTo>
                  <a:pt x="154637" y="480416"/>
                </a:lnTo>
                <a:lnTo>
                  <a:pt x="144460" y="471516"/>
                </a:lnTo>
                <a:lnTo>
                  <a:pt x="135509" y="465264"/>
                </a:lnTo>
                <a:lnTo>
                  <a:pt x="128904" y="461340"/>
                </a:lnTo>
                <a:lnTo>
                  <a:pt x="122554" y="458736"/>
                </a:lnTo>
                <a:lnTo>
                  <a:pt x="116459" y="457441"/>
                </a:lnTo>
                <a:lnTo>
                  <a:pt x="110489" y="456158"/>
                </a:lnTo>
                <a:lnTo>
                  <a:pt x="104648" y="456361"/>
                </a:lnTo>
                <a:lnTo>
                  <a:pt x="99060" y="458063"/>
                </a:lnTo>
                <a:lnTo>
                  <a:pt x="93472" y="459765"/>
                </a:lnTo>
                <a:lnTo>
                  <a:pt x="88264" y="463042"/>
                </a:lnTo>
                <a:lnTo>
                  <a:pt x="83312" y="467880"/>
                </a:lnTo>
                <a:lnTo>
                  <a:pt x="76835" y="474446"/>
                </a:lnTo>
                <a:lnTo>
                  <a:pt x="73151" y="481660"/>
                </a:lnTo>
                <a:lnTo>
                  <a:pt x="72262" y="489521"/>
                </a:lnTo>
                <a:lnTo>
                  <a:pt x="72231" y="489860"/>
                </a:lnTo>
                <a:lnTo>
                  <a:pt x="73063" y="501806"/>
                </a:lnTo>
                <a:lnTo>
                  <a:pt x="77597" y="514362"/>
                </a:lnTo>
                <a:lnTo>
                  <a:pt x="82501" y="522699"/>
                </a:lnTo>
                <a:lnTo>
                  <a:pt x="90150" y="532707"/>
                </a:lnTo>
                <a:lnTo>
                  <a:pt x="89841" y="504631"/>
                </a:lnTo>
                <a:lnTo>
                  <a:pt x="86740" y="495833"/>
                </a:lnTo>
                <a:lnTo>
                  <a:pt x="85471" y="488480"/>
                </a:lnTo>
                <a:lnTo>
                  <a:pt x="87375" y="482269"/>
                </a:lnTo>
                <a:lnTo>
                  <a:pt x="92455" y="477177"/>
                </a:lnTo>
                <a:lnTo>
                  <a:pt x="97536" y="472008"/>
                </a:lnTo>
                <a:lnTo>
                  <a:pt x="104393" y="470128"/>
                </a:lnTo>
                <a:lnTo>
                  <a:pt x="112649" y="471551"/>
                </a:lnTo>
                <a:lnTo>
                  <a:pt x="115357" y="472206"/>
                </a:lnTo>
                <a:lnTo>
                  <a:pt x="124319" y="476522"/>
                </a:lnTo>
                <a:lnTo>
                  <a:pt x="135009" y="484441"/>
                </a:lnTo>
                <a:lnTo>
                  <a:pt x="147447" y="495960"/>
                </a:lnTo>
                <a:lnTo>
                  <a:pt x="151802" y="500400"/>
                </a:lnTo>
                <a:lnTo>
                  <a:pt x="162093" y="512214"/>
                </a:lnTo>
                <a:lnTo>
                  <a:pt x="168769" y="522317"/>
                </a:lnTo>
                <a:lnTo>
                  <a:pt x="171830" y="530707"/>
                </a:lnTo>
                <a:lnTo>
                  <a:pt x="173354" y="539102"/>
                </a:lnTo>
                <a:lnTo>
                  <a:pt x="171450" y="545846"/>
                </a:lnTo>
                <a:lnTo>
                  <a:pt x="166370" y="550926"/>
                </a:lnTo>
                <a:lnTo>
                  <a:pt x="164879" y="567900"/>
                </a:lnTo>
                <a:lnTo>
                  <a:pt x="175513" y="560044"/>
                </a:lnTo>
                <a:close/>
              </a:path>
              <a:path w="641261" h="659396">
                <a:moveTo>
                  <a:pt x="132714" y="599732"/>
                </a:moveTo>
                <a:lnTo>
                  <a:pt x="122047" y="589089"/>
                </a:lnTo>
                <a:lnTo>
                  <a:pt x="77850" y="633349"/>
                </a:lnTo>
                <a:lnTo>
                  <a:pt x="77088" y="630110"/>
                </a:lnTo>
                <a:lnTo>
                  <a:pt x="76580" y="626554"/>
                </a:lnTo>
                <a:lnTo>
                  <a:pt x="76453" y="618794"/>
                </a:lnTo>
                <a:lnTo>
                  <a:pt x="76835" y="610743"/>
                </a:lnTo>
                <a:lnTo>
                  <a:pt x="77977" y="598512"/>
                </a:lnTo>
                <a:lnTo>
                  <a:pt x="78716" y="588912"/>
                </a:lnTo>
                <a:lnTo>
                  <a:pt x="79312" y="575583"/>
                </a:lnTo>
                <a:lnTo>
                  <a:pt x="79121" y="565543"/>
                </a:lnTo>
                <a:lnTo>
                  <a:pt x="78739" y="558253"/>
                </a:lnTo>
                <a:lnTo>
                  <a:pt x="77470" y="552132"/>
                </a:lnTo>
                <a:lnTo>
                  <a:pt x="75437" y="547166"/>
                </a:lnTo>
                <a:lnTo>
                  <a:pt x="73533" y="542201"/>
                </a:lnTo>
                <a:lnTo>
                  <a:pt x="70612" y="537908"/>
                </a:lnTo>
                <a:lnTo>
                  <a:pt x="67055" y="534301"/>
                </a:lnTo>
                <a:lnTo>
                  <a:pt x="54340" y="526010"/>
                </a:lnTo>
                <a:lnTo>
                  <a:pt x="41655" y="524014"/>
                </a:lnTo>
                <a:lnTo>
                  <a:pt x="36461" y="524538"/>
                </a:lnTo>
                <a:lnTo>
                  <a:pt x="24829" y="528817"/>
                </a:lnTo>
                <a:lnTo>
                  <a:pt x="13842" y="537375"/>
                </a:lnTo>
                <a:lnTo>
                  <a:pt x="9895" y="541717"/>
                </a:lnTo>
                <a:lnTo>
                  <a:pt x="2888" y="552885"/>
                </a:lnTo>
                <a:lnTo>
                  <a:pt x="0" y="564553"/>
                </a:lnTo>
                <a:lnTo>
                  <a:pt x="42" y="569444"/>
                </a:lnTo>
                <a:lnTo>
                  <a:pt x="3197" y="581180"/>
                </a:lnTo>
                <a:lnTo>
                  <a:pt x="10667" y="592785"/>
                </a:lnTo>
                <a:lnTo>
                  <a:pt x="23240" y="582561"/>
                </a:lnTo>
                <a:lnTo>
                  <a:pt x="17652" y="576859"/>
                </a:lnTo>
                <a:lnTo>
                  <a:pt x="14732" y="570801"/>
                </a:lnTo>
                <a:lnTo>
                  <a:pt x="14732" y="557999"/>
                </a:lnTo>
                <a:lnTo>
                  <a:pt x="17399" y="552132"/>
                </a:lnTo>
                <a:lnTo>
                  <a:pt x="22733" y="546798"/>
                </a:lnTo>
                <a:lnTo>
                  <a:pt x="27812" y="541743"/>
                </a:lnTo>
                <a:lnTo>
                  <a:pt x="33400" y="539153"/>
                </a:lnTo>
                <a:lnTo>
                  <a:pt x="45720" y="538911"/>
                </a:lnTo>
                <a:lnTo>
                  <a:pt x="51053" y="541045"/>
                </a:lnTo>
                <a:lnTo>
                  <a:pt x="55372" y="545439"/>
                </a:lnTo>
                <a:lnTo>
                  <a:pt x="59562" y="549630"/>
                </a:lnTo>
                <a:lnTo>
                  <a:pt x="62357" y="555790"/>
                </a:lnTo>
                <a:lnTo>
                  <a:pt x="63626" y="563943"/>
                </a:lnTo>
                <a:lnTo>
                  <a:pt x="63713" y="564590"/>
                </a:lnTo>
                <a:lnTo>
                  <a:pt x="64314" y="574303"/>
                </a:lnTo>
                <a:lnTo>
                  <a:pt x="64031" y="587089"/>
                </a:lnTo>
                <a:lnTo>
                  <a:pt x="62864" y="602945"/>
                </a:lnTo>
                <a:lnTo>
                  <a:pt x="62543" y="606344"/>
                </a:lnTo>
                <a:lnTo>
                  <a:pt x="61712" y="619999"/>
                </a:lnTo>
                <a:lnTo>
                  <a:pt x="61975" y="631101"/>
                </a:lnTo>
                <a:lnTo>
                  <a:pt x="62611" y="638390"/>
                </a:lnTo>
                <a:lnTo>
                  <a:pt x="64135" y="644829"/>
                </a:lnTo>
                <a:lnTo>
                  <a:pt x="66675" y="650405"/>
                </a:lnTo>
                <a:lnTo>
                  <a:pt x="68199" y="653808"/>
                </a:lnTo>
                <a:lnTo>
                  <a:pt x="70358" y="656805"/>
                </a:lnTo>
                <a:lnTo>
                  <a:pt x="73151" y="659396"/>
                </a:lnTo>
                <a:lnTo>
                  <a:pt x="132714" y="5997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7" name="object 197"/>
          <p:cNvSpPr/>
          <p:nvPr/>
        </p:nvSpPr>
        <p:spPr>
          <a:xfrm>
            <a:off x="5191126" y="3961945"/>
            <a:ext cx="642391" cy="493671"/>
          </a:xfrm>
          <a:custGeom>
            <a:avLst/>
            <a:gdLst/>
            <a:ahLst/>
            <a:cxnLst/>
            <a:rect l="l" t="t" r="r" b="b"/>
            <a:pathLst>
              <a:path w="642391" h="659142">
                <a:moveTo>
                  <a:pt x="631316" y="104013"/>
                </a:moveTo>
                <a:lnTo>
                  <a:pt x="637921" y="97282"/>
                </a:lnTo>
                <a:lnTo>
                  <a:pt x="641603" y="90043"/>
                </a:lnTo>
                <a:lnTo>
                  <a:pt x="642365" y="82169"/>
                </a:lnTo>
                <a:lnTo>
                  <a:pt x="642391" y="81895"/>
                </a:lnTo>
                <a:lnTo>
                  <a:pt x="641572" y="69929"/>
                </a:lnTo>
                <a:lnTo>
                  <a:pt x="637032" y="57404"/>
                </a:lnTo>
                <a:lnTo>
                  <a:pt x="632211" y="49145"/>
                </a:lnTo>
                <a:lnTo>
                  <a:pt x="624607" y="39162"/>
                </a:lnTo>
                <a:lnTo>
                  <a:pt x="614679" y="28448"/>
                </a:lnTo>
                <a:lnTo>
                  <a:pt x="610440" y="24318"/>
                </a:lnTo>
                <a:lnTo>
                  <a:pt x="600263" y="15421"/>
                </a:lnTo>
                <a:lnTo>
                  <a:pt x="591312" y="9144"/>
                </a:lnTo>
                <a:lnTo>
                  <a:pt x="584708" y="5207"/>
                </a:lnTo>
                <a:lnTo>
                  <a:pt x="578358" y="2667"/>
                </a:lnTo>
                <a:lnTo>
                  <a:pt x="572262" y="1397"/>
                </a:lnTo>
                <a:lnTo>
                  <a:pt x="566292" y="0"/>
                </a:lnTo>
                <a:lnTo>
                  <a:pt x="560451" y="254"/>
                </a:lnTo>
                <a:lnTo>
                  <a:pt x="554863" y="2032"/>
                </a:lnTo>
                <a:lnTo>
                  <a:pt x="549275" y="3683"/>
                </a:lnTo>
                <a:lnTo>
                  <a:pt x="544067" y="6985"/>
                </a:lnTo>
                <a:lnTo>
                  <a:pt x="539114" y="11811"/>
                </a:lnTo>
                <a:lnTo>
                  <a:pt x="532638" y="18415"/>
                </a:lnTo>
                <a:lnTo>
                  <a:pt x="528954" y="25527"/>
                </a:lnTo>
                <a:lnTo>
                  <a:pt x="528065" y="33401"/>
                </a:lnTo>
                <a:lnTo>
                  <a:pt x="528030" y="33785"/>
                </a:lnTo>
                <a:lnTo>
                  <a:pt x="528871" y="45715"/>
                </a:lnTo>
                <a:lnTo>
                  <a:pt x="533400" y="58293"/>
                </a:lnTo>
                <a:lnTo>
                  <a:pt x="538312" y="66618"/>
                </a:lnTo>
                <a:lnTo>
                  <a:pt x="545958" y="76647"/>
                </a:lnTo>
                <a:lnTo>
                  <a:pt x="545644" y="48523"/>
                </a:lnTo>
                <a:lnTo>
                  <a:pt x="542544" y="39751"/>
                </a:lnTo>
                <a:lnTo>
                  <a:pt x="541274" y="32385"/>
                </a:lnTo>
                <a:lnTo>
                  <a:pt x="543178" y="26162"/>
                </a:lnTo>
                <a:lnTo>
                  <a:pt x="548259" y="21082"/>
                </a:lnTo>
                <a:lnTo>
                  <a:pt x="553338" y="15875"/>
                </a:lnTo>
                <a:lnTo>
                  <a:pt x="560197" y="14097"/>
                </a:lnTo>
                <a:lnTo>
                  <a:pt x="568451" y="15494"/>
                </a:lnTo>
                <a:lnTo>
                  <a:pt x="571152" y="16142"/>
                </a:lnTo>
                <a:lnTo>
                  <a:pt x="580115" y="20446"/>
                </a:lnTo>
                <a:lnTo>
                  <a:pt x="590808" y="28358"/>
                </a:lnTo>
                <a:lnTo>
                  <a:pt x="603250" y="39878"/>
                </a:lnTo>
                <a:lnTo>
                  <a:pt x="607640" y="44343"/>
                </a:lnTo>
                <a:lnTo>
                  <a:pt x="617913" y="56122"/>
                </a:lnTo>
                <a:lnTo>
                  <a:pt x="624577" y="66226"/>
                </a:lnTo>
                <a:lnTo>
                  <a:pt x="627634" y="74676"/>
                </a:lnTo>
                <a:lnTo>
                  <a:pt x="629158" y="83058"/>
                </a:lnTo>
                <a:lnTo>
                  <a:pt x="627252" y="89789"/>
                </a:lnTo>
                <a:lnTo>
                  <a:pt x="622173" y="94869"/>
                </a:lnTo>
                <a:lnTo>
                  <a:pt x="620669" y="111817"/>
                </a:lnTo>
                <a:lnTo>
                  <a:pt x="631316" y="104013"/>
                </a:lnTo>
                <a:close/>
              </a:path>
              <a:path w="642391" h="659142">
                <a:moveTo>
                  <a:pt x="175513" y="559790"/>
                </a:moveTo>
                <a:lnTo>
                  <a:pt x="182117" y="553186"/>
                </a:lnTo>
                <a:lnTo>
                  <a:pt x="185800" y="545934"/>
                </a:lnTo>
                <a:lnTo>
                  <a:pt x="186562" y="538060"/>
                </a:lnTo>
                <a:lnTo>
                  <a:pt x="186594" y="537720"/>
                </a:lnTo>
                <a:lnTo>
                  <a:pt x="185762" y="525756"/>
                </a:lnTo>
                <a:lnTo>
                  <a:pt x="181228" y="513219"/>
                </a:lnTo>
                <a:lnTo>
                  <a:pt x="176398" y="505012"/>
                </a:lnTo>
                <a:lnTo>
                  <a:pt x="168758" y="495009"/>
                </a:lnTo>
                <a:lnTo>
                  <a:pt x="158876" y="484314"/>
                </a:lnTo>
                <a:lnTo>
                  <a:pt x="154594" y="480162"/>
                </a:lnTo>
                <a:lnTo>
                  <a:pt x="144421" y="471262"/>
                </a:lnTo>
                <a:lnTo>
                  <a:pt x="135509" y="465010"/>
                </a:lnTo>
                <a:lnTo>
                  <a:pt x="128904" y="461086"/>
                </a:lnTo>
                <a:lnTo>
                  <a:pt x="122554" y="458482"/>
                </a:lnTo>
                <a:lnTo>
                  <a:pt x="116459" y="457187"/>
                </a:lnTo>
                <a:lnTo>
                  <a:pt x="110362" y="455904"/>
                </a:lnTo>
                <a:lnTo>
                  <a:pt x="104648" y="456107"/>
                </a:lnTo>
                <a:lnTo>
                  <a:pt x="98933" y="457809"/>
                </a:lnTo>
                <a:lnTo>
                  <a:pt x="93345" y="459511"/>
                </a:lnTo>
                <a:lnTo>
                  <a:pt x="88137" y="462788"/>
                </a:lnTo>
                <a:lnTo>
                  <a:pt x="83312" y="467626"/>
                </a:lnTo>
                <a:lnTo>
                  <a:pt x="76708" y="474192"/>
                </a:lnTo>
                <a:lnTo>
                  <a:pt x="73025" y="481406"/>
                </a:lnTo>
                <a:lnTo>
                  <a:pt x="72262" y="489267"/>
                </a:lnTo>
                <a:lnTo>
                  <a:pt x="72231" y="489606"/>
                </a:lnTo>
                <a:lnTo>
                  <a:pt x="73063" y="501552"/>
                </a:lnTo>
                <a:lnTo>
                  <a:pt x="77597" y="514108"/>
                </a:lnTo>
                <a:lnTo>
                  <a:pt x="82389" y="522404"/>
                </a:lnTo>
                <a:lnTo>
                  <a:pt x="90010" y="532431"/>
                </a:lnTo>
                <a:lnTo>
                  <a:pt x="89765" y="504362"/>
                </a:lnTo>
                <a:lnTo>
                  <a:pt x="86613" y="495579"/>
                </a:lnTo>
                <a:lnTo>
                  <a:pt x="85344" y="488226"/>
                </a:lnTo>
                <a:lnTo>
                  <a:pt x="87249" y="482015"/>
                </a:lnTo>
                <a:lnTo>
                  <a:pt x="92328" y="476923"/>
                </a:lnTo>
                <a:lnTo>
                  <a:pt x="97536" y="471754"/>
                </a:lnTo>
                <a:lnTo>
                  <a:pt x="104266" y="469874"/>
                </a:lnTo>
                <a:lnTo>
                  <a:pt x="112649" y="471297"/>
                </a:lnTo>
                <a:lnTo>
                  <a:pt x="124319" y="476268"/>
                </a:lnTo>
                <a:lnTo>
                  <a:pt x="135009" y="484187"/>
                </a:lnTo>
                <a:lnTo>
                  <a:pt x="147447" y="495706"/>
                </a:lnTo>
                <a:lnTo>
                  <a:pt x="151798" y="500146"/>
                </a:lnTo>
                <a:lnTo>
                  <a:pt x="162056" y="511960"/>
                </a:lnTo>
                <a:lnTo>
                  <a:pt x="168713" y="522063"/>
                </a:lnTo>
                <a:lnTo>
                  <a:pt x="171830" y="530453"/>
                </a:lnTo>
                <a:lnTo>
                  <a:pt x="173227" y="538848"/>
                </a:lnTo>
                <a:lnTo>
                  <a:pt x="171450" y="545592"/>
                </a:lnTo>
                <a:lnTo>
                  <a:pt x="166370" y="550672"/>
                </a:lnTo>
                <a:lnTo>
                  <a:pt x="164823" y="567646"/>
                </a:lnTo>
                <a:lnTo>
                  <a:pt x="175513" y="559790"/>
                </a:lnTo>
                <a:close/>
              </a:path>
              <a:path w="642391" h="659142">
                <a:moveTo>
                  <a:pt x="132714" y="599478"/>
                </a:moveTo>
                <a:lnTo>
                  <a:pt x="122047" y="588835"/>
                </a:lnTo>
                <a:lnTo>
                  <a:pt x="77850" y="633095"/>
                </a:lnTo>
                <a:lnTo>
                  <a:pt x="76962" y="629856"/>
                </a:lnTo>
                <a:lnTo>
                  <a:pt x="76580" y="626300"/>
                </a:lnTo>
                <a:lnTo>
                  <a:pt x="76326" y="618540"/>
                </a:lnTo>
                <a:lnTo>
                  <a:pt x="76835" y="610489"/>
                </a:lnTo>
                <a:lnTo>
                  <a:pt x="77977" y="598258"/>
                </a:lnTo>
                <a:lnTo>
                  <a:pt x="78647" y="588673"/>
                </a:lnTo>
                <a:lnTo>
                  <a:pt x="79222" y="575334"/>
                </a:lnTo>
                <a:lnTo>
                  <a:pt x="79121" y="565289"/>
                </a:lnTo>
                <a:lnTo>
                  <a:pt x="78739" y="557999"/>
                </a:lnTo>
                <a:lnTo>
                  <a:pt x="77470" y="551878"/>
                </a:lnTo>
                <a:lnTo>
                  <a:pt x="75437" y="546912"/>
                </a:lnTo>
                <a:lnTo>
                  <a:pt x="73405" y="541947"/>
                </a:lnTo>
                <a:lnTo>
                  <a:pt x="70612" y="537654"/>
                </a:lnTo>
                <a:lnTo>
                  <a:pt x="67055" y="534047"/>
                </a:lnTo>
                <a:lnTo>
                  <a:pt x="54340" y="525756"/>
                </a:lnTo>
                <a:lnTo>
                  <a:pt x="41655" y="523760"/>
                </a:lnTo>
                <a:lnTo>
                  <a:pt x="36461" y="524284"/>
                </a:lnTo>
                <a:lnTo>
                  <a:pt x="24829" y="528563"/>
                </a:lnTo>
                <a:lnTo>
                  <a:pt x="13842" y="537121"/>
                </a:lnTo>
                <a:lnTo>
                  <a:pt x="9850" y="541463"/>
                </a:lnTo>
                <a:lnTo>
                  <a:pt x="2850" y="552631"/>
                </a:lnTo>
                <a:lnTo>
                  <a:pt x="0" y="564299"/>
                </a:lnTo>
                <a:lnTo>
                  <a:pt x="42" y="569190"/>
                </a:lnTo>
                <a:lnTo>
                  <a:pt x="3197" y="580926"/>
                </a:lnTo>
                <a:lnTo>
                  <a:pt x="10667" y="592531"/>
                </a:lnTo>
                <a:lnTo>
                  <a:pt x="23240" y="582307"/>
                </a:lnTo>
                <a:lnTo>
                  <a:pt x="17525" y="576605"/>
                </a:lnTo>
                <a:lnTo>
                  <a:pt x="14732" y="570547"/>
                </a:lnTo>
                <a:lnTo>
                  <a:pt x="14732" y="557745"/>
                </a:lnTo>
                <a:lnTo>
                  <a:pt x="17399" y="551878"/>
                </a:lnTo>
                <a:lnTo>
                  <a:pt x="22733" y="546544"/>
                </a:lnTo>
                <a:lnTo>
                  <a:pt x="27812" y="541489"/>
                </a:lnTo>
                <a:lnTo>
                  <a:pt x="33400" y="538899"/>
                </a:lnTo>
                <a:lnTo>
                  <a:pt x="45720" y="538657"/>
                </a:lnTo>
                <a:lnTo>
                  <a:pt x="51053" y="540791"/>
                </a:lnTo>
                <a:lnTo>
                  <a:pt x="55372" y="545185"/>
                </a:lnTo>
                <a:lnTo>
                  <a:pt x="59562" y="549376"/>
                </a:lnTo>
                <a:lnTo>
                  <a:pt x="62229" y="555536"/>
                </a:lnTo>
                <a:lnTo>
                  <a:pt x="63500" y="563689"/>
                </a:lnTo>
                <a:lnTo>
                  <a:pt x="63598" y="564349"/>
                </a:lnTo>
                <a:lnTo>
                  <a:pt x="64274" y="574061"/>
                </a:lnTo>
                <a:lnTo>
                  <a:pt x="63987" y="586842"/>
                </a:lnTo>
                <a:lnTo>
                  <a:pt x="62737" y="602691"/>
                </a:lnTo>
                <a:lnTo>
                  <a:pt x="62421" y="606080"/>
                </a:lnTo>
                <a:lnTo>
                  <a:pt x="61658" y="619741"/>
                </a:lnTo>
                <a:lnTo>
                  <a:pt x="61975" y="630847"/>
                </a:lnTo>
                <a:lnTo>
                  <a:pt x="62484" y="638136"/>
                </a:lnTo>
                <a:lnTo>
                  <a:pt x="64135" y="644575"/>
                </a:lnTo>
                <a:lnTo>
                  <a:pt x="66675" y="650151"/>
                </a:lnTo>
                <a:lnTo>
                  <a:pt x="68199" y="653554"/>
                </a:lnTo>
                <a:lnTo>
                  <a:pt x="70358" y="656551"/>
                </a:lnTo>
                <a:lnTo>
                  <a:pt x="73025" y="659142"/>
                </a:lnTo>
                <a:lnTo>
                  <a:pt x="132714" y="599478"/>
                </a:lnTo>
                <a:close/>
              </a:path>
              <a:path w="642391" h="659142">
                <a:moveTo>
                  <a:pt x="164823" y="567646"/>
                </a:moveTo>
                <a:lnTo>
                  <a:pt x="166370" y="550672"/>
                </a:lnTo>
                <a:lnTo>
                  <a:pt x="161289" y="555764"/>
                </a:lnTo>
                <a:lnTo>
                  <a:pt x="154559" y="557593"/>
                </a:lnTo>
                <a:lnTo>
                  <a:pt x="146176" y="556158"/>
                </a:lnTo>
                <a:lnTo>
                  <a:pt x="143476" y="555499"/>
                </a:lnTo>
                <a:lnTo>
                  <a:pt x="134513" y="551178"/>
                </a:lnTo>
                <a:lnTo>
                  <a:pt x="123820" y="543270"/>
                </a:lnTo>
                <a:lnTo>
                  <a:pt x="111378" y="531774"/>
                </a:lnTo>
                <a:lnTo>
                  <a:pt x="105875" y="526084"/>
                </a:lnTo>
                <a:lnTo>
                  <a:pt x="96167" y="514532"/>
                </a:lnTo>
                <a:lnTo>
                  <a:pt x="89765" y="504362"/>
                </a:lnTo>
                <a:lnTo>
                  <a:pt x="90010" y="532431"/>
                </a:lnTo>
                <a:lnTo>
                  <a:pt x="99949" y="543166"/>
                </a:lnTo>
                <a:lnTo>
                  <a:pt x="102501" y="545664"/>
                </a:lnTo>
                <a:lnTo>
                  <a:pt x="114195" y="555886"/>
                </a:lnTo>
                <a:lnTo>
                  <a:pt x="125288" y="563502"/>
                </a:lnTo>
                <a:lnTo>
                  <a:pt x="135779" y="568516"/>
                </a:lnTo>
                <a:lnTo>
                  <a:pt x="145669" y="570928"/>
                </a:lnTo>
                <a:lnTo>
                  <a:pt x="153063" y="571025"/>
                </a:lnTo>
                <a:lnTo>
                  <a:pt x="164823" y="567646"/>
                </a:lnTo>
                <a:close/>
              </a:path>
              <a:path w="642391" h="659142">
                <a:moveTo>
                  <a:pt x="175965" y="456031"/>
                </a:moveTo>
                <a:lnTo>
                  <a:pt x="166228" y="444480"/>
                </a:lnTo>
                <a:lnTo>
                  <a:pt x="159812" y="434312"/>
                </a:lnTo>
                <a:lnTo>
                  <a:pt x="156717" y="425526"/>
                </a:lnTo>
                <a:lnTo>
                  <a:pt x="160127" y="462407"/>
                </a:lnTo>
                <a:lnTo>
                  <a:pt x="170052" y="473125"/>
                </a:lnTo>
                <a:lnTo>
                  <a:pt x="172490" y="475528"/>
                </a:lnTo>
                <a:lnTo>
                  <a:pt x="184149" y="485785"/>
                </a:lnTo>
                <a:lnTo>
                  <a:pt x="175965" y="456031"/>
                </a:lnTo>
                <a:close/>
              </a:path>
              <a:path w="642391" h="659142">
                <a:moveTo>
                  <a:pt x="234858" y="497602"/>
                </a:moveTo>
                <a:lnTo>
                  <a:pt x="245490" y="489737"/>
                </a:lnTo>
                <a:lnTo>
                  <a:pt x="252095" y="483133"/>
                </a:lnTo>
                <a:lnTo>
                  <a:pt x="255777" y="475894"/>
                </a:lnTo>
                <a:lnTo>
                  <a:pt x="256666" y="468007"/>
                </a:lnTo>
                <a:lnTo>
                  <a:pt x="256698" y="467667"/>
                </a:lnTo>
                <a:lnTo>
                  <a:pt x="255866" y="455713"/>
                </a:lnTo>
                <a:lnTo>
                  <a:pt x="251333" y="443166"/>
                </a:lnTo>
                <a:lnTo>
                  <a:pt x="246470" y="434923"/>
                </a:lnTo>
                <a:lnTo>
                  <a:pt x="238808" y="424937"/>
                </a:lnTo>
                <a:lnTo>
                  <a:pt x="228853" y="414261"/>
                </a:lnTo>
                <a:lnTo>
                  <a:pt x="224628" y="410118"/>
                </a:lnTo>
                <a:lnTo>
                  <a:pt x="214493" y="401218"/>
                </a:lnTo>
                <a:lnTo>
                  <a:pt x="205486" y="394970"/>
                </a:lnTo>
                <a:lnTo>
                  <a:pt x="198882" y="391045"/>
                </a:lnTo>
                <a:lnTo>
                  <a:pt x="192532" y="388442"/>
                </a:lnTo>
                <a:lnTo>
                  <a:pt x="186562" y="387146"/>
                </a:lnTo>
                <a:lnTo>
                  <a:pt x="180466" y="385851"/>
                </a:lnTo>
                <a:lnTo>
                  <a:pt x="174625" y="386054"/>
                </a:lnTo>
                <a:lnTo>
                  <a:pt x="169037" y="387756"/>
                </a:lnTo>
                <a:lnTo>
                  <a:pt x="163449" y="389470"/>
                </a:lnTo>
                <a:lnTo>
                  <a:pt x="158241" y="392734"/>
                </a:lnTo>
                <a:lnTo>
                  <a:pt x="153415" y="397586"/>
                </a:lnTo>
                <a:lnTo>
                  <a:pt x="146812" y="404152"/>
                </a:lnTo>
                <a:lnTo>
                  <a:pt x="143128" y="411365"/>
                </a:lnTo>
                <a:lnTo>
                  <a:pt x="142366" y="419227"/>
                </a:lnTo>
                <a:lnTo>
                  <a:pt x="142327" y="419596"/>
                </a:lnTo>
                <a:lnTo>
                  <a:pt x="143059" y="431518"/>
                </a:lnTo>
                <a:lnTo>
                  <a:pt x="147574" y="444068"/>
                </a:lnTo>
                <a:lnTo>
                  <a:pt x="152478" y="452402"/>
                </a:lnTo>
                <a:lnTo>
                  <a:pt x="160127" y="462407"/>
                </a:lnTo>
                <a:lnTo>
                  <a:pt x="156717" y="425526"/>
                </a:lnTo>
                <a:lnTo>
                  <a:pt x="155448" y="418185"/>
                </a:lnTo>
                <a:lnTo>
                  <a:pt x="157352" y="411962"/>
                </a:lnTo>
                <a:lnTo>
                  <a:pt x="162433" y="406882"/>
                </a:lnTo>
                <a:lnTo>
                  <a:pt x="167639" y="401701"/>
                </a:lnTo>
                <a:lnTo>
                  <a:pt x="174371" y="399834"/>
                </a:lnTo>
                <a:lnTo>
                  <a:pt x="182752" y="401243"/>
                </a:lnTo>
                <a:lnTo>
                  <a:pt x="194368" y="406220"/>
                </a:lnTo>
                <a:lnTo>
                  <a:pt x="205089" y="414136"/>
                </a:lnTo>
                <a:lnTo>
                  <a:pt x="217550" y="425653"/>
                </a:lnTo>
                <a:lnTo>
                  <a:pt x="221818" y="430040"/>
                </a:lnTo>
                <a:lnTo>
                  <a:pt x="232072" y="441885"/>
                </a:lnTo>
                <a:lnTo>
                  <a:pt x="238742" y="452008"/>
                </a:lnTo>
                <a:lnTo>
                  <a:pt x="241808" y="460413"/>
                </a:lnTo>
                <a:lnTo>
                  <a:pt x="243332" y="468795"/>
                </a:lnTo>
                <a:lnTo>
                  <a:pt x="241553" y="475538"/>
                </a:lnTo>
                <a:lnTo>
                  <a:pt x="236474" y="480631"/>
                </a:lnTo>
                <a:lnTo>
                  <a:pt x="231394" y="485724"/>
                </a:lnTo>
                <a:lnTo>
                  <a:pt x="224662" y="487553"/>
                </a:lnTo>
                <a:lnTo>
                  <a:pt x="216280" y="486105"/>
                </a:lnTo>
                <a:lnTo>
                  <a:pt x="213581" y="485447"/>
                </a:lnTo>
                <a:lnTo>
                  <a:pt x="204583" y="481127"/>
                </a:lnTo>
                <a:lnTo>
                  <a:pt x="193870" y="473222"/>
                </a:lnTo>
                <a:lnTo>
                  <a:pt x="181483" y="461733"/>
                </a:lnTo>
                <a:lnTo>
                  <a:pt x="175965" y="456031"/>
                </a:lnTo>
                <a:lnTo>
                  <a:pt x="184149" y="485785"/>
                </a:lnTo>
                <a:lnTo>
                  <a:pt x="195235" y="493431"/>
                </a:lnTo>
                <a:lnTo>
                  <a:pt x="205737" y="498466"/>
                </a:lnTo>
                <a:lnTo>
                  <a:pt x="215646" y="500888"/>
                </a:lnTo>
                <a:lnTo>
                  <a:pt x="223059" y="500984"/>
                </a:lnTo>
                <a:lnTo>
                  <a:pt x="234858" y="497602"/>
                </a:lnTo>
                <a:close/>
              </a:path>
              <a:path w="642391" h="659142">
                <a:moveTo>
                  <a:pt x="290427" y="433479"/>
                </a:moveTo>
                <a:lnTo>
                  <a:pt x="302305" y="430139"/>
                </a:lnTo>
                <a:lnTo>
                  <a:pt x="313182" y="422097"/>
                </a:lnTo>
                <a:lnTo>
                  <a:pt x="321248" y="411270"/>
                </a:lnTo>
                <a:lnTo>
                  <a:pt x="325247" y="399351"/>
                </a:lnTo>
                <a:lnTo>
                  <a:pt x="325538" y="397181"/>
                </a:lnTo>
                <a:lnTo>
                  <a:pt x="324963" y="385129"/>
                </a:lnTo>
                <a:lnTo>
                  <a:pt x="320801" y="372567"/>
                </a:lnTo>
                <a:lnTo>
                  <a:pt x="314819" y="362213"/>
                </a:lnTo>
                <a:lnTo>
                  <a:pt x="306995" y="352079"/>
                </a:lnTo>
                <a:lnTo>
                  <a:pt x="296925" y="341261"/>
                </a:lnTo>
                <a:lnTo>
                  <a:pt x="287389" y="332369"/>
                </a:lnTo>
                <a:lnTo>
                  <a:pt x="277131" y="324586"/>
                </a:lnTo>
                <a:lnTo>
                  <a:pt x="267842" y="319659"/>
                </a:lnTo>
                <a:lnTo>
                  <a:pt x="259461" y="316331"/>
                </a:lnTo>
                <a:lnTo>
                  <a:pt x="251205" y="315518"/>
                </a:lnTo>
                <a:lnTo>
                  <a:pt x="243204" y="317220"/>
                </a:lnTo>
                <a:lnTo>
                  <a:pt x="235203" y="318922"/>
                </a:lnTo>
                <a:lnTo>
                  <a:pt x="228219" y="322719"/>
                </a:lnTo>
                <a:lnTo>
                  <a:pt x="222376" y="328587"/>
                </a:lnTo>
                <a:lnTo>
                  <a:pt x="218310" y="333224"/>
                </a:lnTo>
                <a:lnTo>
                  <a:pt x="212320" y="344521"/>
                </a:lnTo>
                <a:lnTo>
                  <a:pt x="210438" y="357238"/>
                </a:lnTo>
                <a:lnTo>
                  <a:pt x="211348" y="364882"/>
                </a:lnTo>
                <a:lnTo>
                  <a:pt x="215923" y="376559"/>
                </a:lnTo>
                <a:lnTo>
                  <a:pt x="224409" y="387438"/>
                </a:lnTo>
                <a:lnTo>
                  <a:pt x="225678" y="347624"/>
                </a:lnTo>
                <a:lnTo>
                  <a:pt x="227964" y="341325"/>
                </a:lnTo>
                <a:lnTo>
                  <a:pt x="232917" y="336397"/>
                </a:lnTo>
                <a:lnTo>
                  <a:pt x="237616" y="331635"/>
                </a:lnTo>
                <a:lnTo>
                  <a:pt x="243586" y="329438"/>
                </a:lnTo>
                <a:lnTo>
                  <a:pt x="250698" y="329780"/>
                </a:lnTo>
                <a:lnTo>
                  <a:pt x="257810" y="330136"/>
                </a:lnTo>
                <a:lnTo>
                  <a:pt x="264540" y="333489"/>
                </a:lnTo>
                <a:lnTo>
                  <a:pt x="270890" y="339852"/>
                </a:lnTo>
                <a:lnTo>
                  <a:pt x="277367" y="346214"/>
                </a:lnTo>
                <a:lnTo>
                  <a:pt x="280670" y="352844"/>
                </a:lnTo>
                <a:lnTo>
                  <a:pt x="280924" y="359727"/>
                </a:lnTo>
                <a:lnTo>
                  <a:pt x="281177" y="366623"/>
                </a:lnTo>
                <a:lnTo>
                  <a:pt x="278764" y="372643"/>
                </a:lnTo>
                <a:lnTo>
                  <a:pt x="273685" y="377774"/>
                </a:lnTo>
                <a:lnTo>
                  <a:pt x="268604" y="382866"/>
                </a:lnTo>
                <a:lnTo>
                  <a:pt x="262509" y="385343"/>
                </a:lnTo>
                <a:lnTo>
                  <a:pt x="255397" y="385216"/>
                </a:lnTo>
                <a:lnTo>
                  <a:pt x="248412" y="385102"/>
                </a:lnTo>
                <a:lnTo>
                  <a:pt x="241935" y="382168"/>
                </a:lnTo>
                <a:lnTo>
                  <a:pt x="236220" y="376415"/>
                </a:lnTo>
                <a:lnTo>
                  <a:pt x="229870" y="370014"/>
                </a:lnTo>
                <a:lnTo>
                  <a:pt x="226440" y="362978"/>
                </a:lnTo>
                <a:lnTo>
                  <a:pt x="230191" y="392503"/>
                </a:lnTo>
                <a:lnTo>
                  <a:pt x="241527" y="398810"/>
                </a:lnTo>
                <a:lnTo>
                  <a:pt x="253619" y="401104"/>
                </a:lnTo>
                <a:lnTo>
                  <a:pt x="257811" y="400994"/>
                </a:lnTo>
                <a:lnTo>
                  <a:pt x="270169" y="397802"/>
                </a:lnTo>
                <a:lnTo>
                  <a:pt x="280670" y="390271"/>
                </a:lnTo>
                <a:lnTo>
                  <a:pt x="285241" y="385800"/>
                </a:lnTo>
                <a:lnTo>
                  <a:pt x="288289" y="380542"/>
                </a:lnTo>
                <a:lnTo>
                  <a:pt x="289940" y="374510"/>
                </a:lnTo>
                <a:lnTo>
                  <a:pt x="291591" y="368477"/>
                </a:lnTo>
                <a:lnTo>
                  <a:pt x="291719" y="362585"/>
                </a:lnTo>
                <a:lnTo>
                  <a:pt x="290449" y="356844"/>
                </a:lnTo>
                <a:lnTo>
                  <a:pt x="292735" y="358990"/>
                </a:lnTo>
                <a:lnTo>
                  <a:pt x="297307" y="363588"/>
                </a:lnTo>
                <a:lnTo>
                  <a:pt x="301244" y="368655"/>
                </a:lnTo>
                <a:lnTo>
                  <a:pt x="304546" y="374205"/>
                </a:lnTo>
                <a:lnTo>
                  <a:pt x="307848" y="379742"/>
                </a:lnTo>
                <a:lnTo>
                  <a:pt x="310007" y="384632"/>
                </a:lnTo>
                <a:lnTo>
                  <a:pt x="311023" y="388886"/>
                </a:lnTo>
                <a:lnTo>
                  <a:pt x="311912" y="393128"/>
                </a:lnTo>
                <a:lnTo>
                  <a:pt x="311912" y="397319"/>
                </a:lnTo>
                <a:lnTo>
                  <a:pt x="310896" y="401447"/>
                </a:lnTo>
                <a:lnTo>
                  <a:pt x="309879" y="405574"/>
                </a:lnTo>
                <a:lnTo>
                  <a:pt x="307721" y="409333"/>
                </a:lnTo>
                <a:lnTo>
                  <a:pt x="304291" y="412737"/>
                </a:lnTo>
                <a:lnTo>
                  <a:pt x="300354" y="416725"/>
                </a:lnTo>
                <a:lnTo>
                  <a:pt x="295910" y="418858"/>
                </a:lnTo>
                <a:lnTo>
                  <a:pt x="291084" y="419138"/>
                </a:lnTo>
                <a:lnTo>
                  <a:pt x="286385" y="419430"/>
                </a:lnTo>
                <a:lnTo>
                  <a:pt x="280924" y="417525"/>
                </a:lnTo>
                <a:lnTo>
                  <a:pt x="275082" y="413423"/>
                </a:lnTo>
                <a:lnTo>
                  <a:pt x="265429" y="425056"/>
                </a:lnTo>
                <a:lnTo>
                  <a:pt x="266265" y="425690"/>
                </a:lnTo>
                <a:lnTo>
                  <a:pt x="277968" y="431963"/>
                </a:lnTo>
                <a:lnTo>
                  <a:pt x="289940" y="433514"/>
                </a:lnTo>
                <a:lnTo>
                  <a:pt x="290427" y="433479"/>
                </a:lnTo>
                <a:close/>
              </a:path>
              <a:path w="642391" h="659142">
                <a:moveTo>
                  <a:pt x="226440" y="362978"/>
                </a:moveTo>
                <a:lnTo>
                  <a:pt x="226060" y="355295"/>
                </a:lnTo>
                <a:lnTo>
                  <a:pt x="225678" y="347624"/>
                </a:lnTo>
                <a:lnTo>
                  <a:pt x="224409" y="387438"/>
                </a:lnTo>
                <a:lnTo>
                  <a:pt x="230191" y="392503"/>
                </a:lnTo>
                <a:lnTo>
                  <a:pt x="226440" y="362978"/>
                </a:lnTo>
                <a:close/>
              </a:path>
              <a:path w="642391" h="659142">
                <a:moveTo>
                  <a:pt x="359917" y="375386"/>
                </a:moveTo>
                <a:lnTo>
                  <a:pt x="292608" y="255905"/>
                </a:lnTo>
                <a:lnTo>
                  <a:pt x="283845" y="264795"/>
                </a:lnTo>
                <a:lnTo>
                  <a:pt x="350900" y="384314"/>
                </a:lnTo>
                <a:lnTo>
                  <a:pt x="359917" y="375386"/>
                </a:lnTo>
                <a:close/>
              </a:path>
              <a:path w="642391" h="659142">
                <a:moveTo>
                  <a:pt x="448437" y="283718"/>
                </a:moveTo>
                <a:lnTo>
                  <a:pt x="437769" y="273050"/>
                </a:lnTo>
                <a:lnTo>
                  <a:pt x="393573" y="317347"/>
                </a:lnTo>
                <a:lnTo>
                  <a:pt x="392811" y="314109"/>
                </a:lnTo>
                <a:lnTo>
                  <a:pt x="392302" y="310553"/>
                </a:lnTo>
                <a:lnTo>
                  <a:pt x="392175" y="302793"/>
                </a:lnTo>
                <a:lnTo>
                  <a:pt x="392557" y="294767"/>
                </a:lnTo>
                <a:lnTo>
                  <a:pt x="393700" y="282448"/>
                </a:lnTo>
                <a:lnTo>
                  <a:pt x="394381" y="272959"/>
                </a:lnTo>
                <a:lnTo>
                  <a:pt x="394999" y="259604"/>
                </a:lnTo>
                <a:lnTo>
                  <a:pt x="394842" y="249555"/>
                </a:lnTo>
                <a:lnTo>
                  <a:pt x="394462" y="242316"/>
                </a:lnTo>
                <a:lnTo>
                  <a:pt x="393191" y="236093"/>
                </a:lnTo>
                <a:lnTo>
                  <a:pt x="391160" y="231140"/>
                </a:lnTo>
                <a:lnTo>
                  <a:pt x="389254" y="226187"/>
                </a:lnTo>
                <a:lnTo>
                  <a:pt x="386334" y="221869"/>
                </a:lnTo>
                <a:lnTo>
                  <a:pt x="382777" y="218313"/>
                </a:lnTo>
                <a:lnTo>
                  <a:pt x="370058" y="210015"/>
                </a:lnTo>
                <a:lnTo>
                  <a:pt x="357377" y="208026"/>
                </a:lnTo>
                <a:lnTo>
                  <a:pt x="352191" y="208552"/>
                </a:lnTo>
                <a:lnTo>
                  <a:pt x="340555" y="212825"/>
                </a:lnTo>
                <a:lnTo>
                  <a:pt x="329564" y="221361"/>
                </a:lnTo>
                <a:lnTo>
                  <a:pt x="325617" y="225725"/>
                </a:lnTo>
                <a:lnTo>
                  <a:pt x="318610" y="236895"/>
                </a:lnTo>
                <a:lnTo>
                  <a:pt x="315722" y="248539"/>
                </a:lnTo>
                <a:lnTo>
                  <a:pt x="315762" y="253397"/>
                </a:lnTo>
                <a:lnTo>
                  <a:pt x="318912" y="265130"/>
                </a:lnTo>
                <a:lnTo>
                  <a:pt x="326389" y="276733"/>
                </a:lnTo>
                <a:lnTo>
                  <a:pt x="338963" y="266573"/>
                </a:lnTo>
                <a:lnTo>
                  <a:pt x="333375" y="260858"/>
                </a:lnTo>
                <a:lnTo>
                  <a:pt x="330453" y="254762"/>
                </a:lnTo>
                <a:lnTo>
                  <a:pt x="330453" y="241935"/>
                </a:lnTo>
                <a:lnTo>
                  <a:pt x="333121" y="236093"/>
                </a:lnTo>
                <a:lnTo>
                  <a:pt x="338454" y="230759"/>
                </a:lnTo>
                <a:lnTo>
                  <a:pt x="343535" y="225806"/>
                </a:lnTo>
                <a:lnTo>
                  <a:pt x="349123" y="223139"/>
                </a:lnTo>
                <a:lnTo>
                  <a:pt x="355346" y="223012"/>
                </a:lnTo>
                <a:lnTo>
                  <a:pt x="361441" y="222885"/>
                </a:lnTo>
                <a:lnTo>
                  <a:pt x="366775" y="225044"/>
                </a:lnTo>
                <a:lnTo>
                  <a:pt x="371094" y="229489"/>
                </a:lnTo>
                <a:lnTo>
                  <a:pt x="375285" y="233680"/>
                </a:lnTo>
                <a:lnTo>
                  <a:pt x="378078" y="239776"/>
                </a:lnTo>
                <a:lnTo>
                  <a:pt x="379349" y="247904"/>
                </a:lnTo>
                <a:lnTo>
                  <a:pt x="379435" y="248548"/>
                </a:lnTo>
                <a:lnTo>
                  <a:pt x="380030" y="258271"/>
                </a:lnTo>
                <a:lnTo>
                  <a:pt x="379714" y="271070"/>
                </a:lnTo>
                <a:lnTo>
                  <a:pt x="378460" y="286893"/>
                </a:lnTo>
                <a:lnTo>
                  <a:pt x="378138" y="290352"/>
                </a:lnTo>
                <a:lnTo>
                  <a:pt x="377380" y="304015"/>
                </a:lnTo>
                <a:lnTo>
                  <a:pt x="377698" y="315099"/>
                </a:lnTo>
                <a:lnTo>
                  <a:pt x="378333" y="322389"/>
                </a:lnTo>
                <a:lnTo>
                  <a:pt x="379857" y="328828"/>
                </a:lnTo>
                <a:lnTo>
                  <a:pt x="382397" y="334403"/>
                </a:lnTo>
                <a:lnTo>
                  <a:pt x="383921" y="337807"/>
                </a:lnTo>
                <a:lnTo>
                  <a:pt x="386079" y="340804"/>
                </a:lnTo>
                <a:lnTo>
                  <a:pt x="388747" y="343395"/>
                </a:lnTo>
                <a:lnTo>
                  <a:pt x="448437" y="283718"/>
                </a:lnTo>
                <a:close/>
              </a:path>
              <a:path w="642391" h="659142">
                <a:moveTo>
                  <a:pt x="421634" y="210320"/>
                </a:moveTo>
                <a:lnTo>
                  <a:pt x="411942" y="198751"/>
                </a:lnTo>
                <a:lnTo>
                  <a:pt x="405510" y="188589"/>
                </a:lnTo>
                <a:lnTo>
                  <a:pt x="402336" y="179832"/>
                </a:lnTo>
                <a:lnTo>
                  <a:pt x="405877" y="216728"/>
                </a:lnTo>
                <a:lnTo>
                  <a:pt x="415798" y="227457"/>
                </a:lnTo>
                <a:lnTo>
                  <a:pt x="418200" y="229818"/>
                </a:lnTo>
                <a:lnTo>
                  <a:pt x="429869" y="240066"/>
                </a:lnTo>
                <a:lnTo>
                  <a:pt x="421634" y="210320"/>
                </a:lnTo>
                <a:close/>
              </a:path>
              <a:path w="642391" h="659142">
                <a:moveTo>
                  <a:pt x="480533" y="251898"/>
                </a:moveTo>
                <a:lnTo>
                  <a:pt x="491236" y="244094"/>
                </a:lnTo>
                <a:lnTo>
                  <a:pt x="497839" y="237490"/>
                </a:lnTo>
                <a:lnTo>
                  <a:pt x="501523" y="230251"/>
                </a:lnTo>
                <a:lnTo>
                  <a:pt x="502285" y="222250"/>
                </a:lnTo>
                <a:lnTo>
                  <a:pt x="502310" y="221976"/>
                </a:lnTo>
                <a:lnTo>
                  <a:pt x="501491" y="210010"/>
                </a:lnTo>
                <a:lnTo>
                  <a:pt x="496950" y="197485"/>
                </a:lnTo>
                <a:lnTo>
                  <a:pt x="492105" y="189282"/>
                </a:lnTo>
                <a:lnTo>
                  <a:pt x="484470" y="179273"/>
                </a:lnTo>
                <a:lnTo>
                  <a:pt x="474599" y="168529"/>
                </a:lnTo>
                <a:lnTo>
                  <a:pt x="470359" y="164399"/>
                </a:lnTo>
                <a:lnTo>
                  <a:pt x="460182" y="155502"/>
                </a:lnTo>
                <a:lnTo>
                  <a:pt x="451230" y="149225"/>
                </a:lnTo>
                <a:lnTo>
                  <a:pt x="444626" y="145288"/>
                </a:lnTo>
                <a:lnTo>
                  <a:pt x="438276" y="142748"/>
                </a:lnTo>
                <a:lnTo>
                  <a:pt x="432180" y="141478"/>
                </a:lnTo>
                <a:lnTo>
                  <a:pt x="426212" y="140208"/>
                </a:lnTo>
                <a:lnTo>
                  <a:pt x="420370" y="140335"/>
                </a:lnTo>
                <a:lnTo>
                  <a:pt x="414782" y="142113"/>
                </a:lnTo>
                <a:lnTo>
                  <a:pt x="409194" y="143764"/>
                </a:lnTo>
                <a:lnTo>
                  <a:pt x="403860" y="147066"/>
                </a:lnTo>
                <a:lnTo>
                  <a:pt x="399034" y="151892"/>
                </a:lnTo>
                <a:lnTo>
                  <a:pt x="392557" y="158496"/>
                </a:lnTo>
                <a:lnTo>
                  <a:pt x="388874" y="165608"/>
                </a:lnTo>
                <a:lnTo>
                  <a:pt x="387985" y="173482"/>
                </a:lnTo>
                <a:lnTo>
                  <a:pt x="387949" y="173866"/>
                </a:lnTo>
                <a:lnTo>
                  <a:pt x="388790" y="185796"/>
                </a:lnTo>
                <a:lnTo>
                  <a:pt x="393319" y="198374"/>
                </a:lnTo>
                <a:lnTo>
                  <a:pt x="398231" y="206699"/>
                </a:lnTo>
                <a:lnTo>
                  <a:pt x="405877" y="216728"/>
                </a:lnTo>
                <a:lnTo>
                  <a:pt x="402336" y="179832"/>
                </a:lnTo>
                <a:lnTo>
                  <a:pt x="401065" y="172466"/>
                </a:lnTo>
                <a:lnTo>
                  <a:pt x="402971" y="166243"/>
                </a:lnTo>
                <a:lnTo>
                  <a:pt x="408177" y="161163"/>
                </a:lnTo>
                <a:lnTo>
                  <a:pt x="413258" y="155956"/>
                </a:lnTo>
                <a:lnTo>
                  <a:pt x="420115" y="154178"/>
                </a:lnTo>
                <a:lnTo>
                  <a:pt x="428371" y="155575"/>
                </a:lnTo>
                <a:lnTo>
                  <a:pt x="431071" y="156223"/>
                </a:lnTo>
                <a:lnTo>
                  <a:pt x="440034" y="160527"/>
                </a:lnTo>
                <a:lnTo>
                  <a:pt x="450727" y="168439"/>
                </a:lnTo>
                <a:lnTo>
                  <a:pt x="463169" y="179959"/>
                </a:lnTo>
                <a:lnTo>
                  <a:pt x="467559" y="184428"/>
                </a:lnTo>
                <a:lnTo>
                  <a:pt x="477832" y="196239"/>
                </a:lnTo>
                <a:lnTo>
                  <a:pt x="484496" y="206363"/>
                </a:lnTo>
                <a:lnTo>
                  <a:pt x="487552" y="214757"/>
                </a:lnTo>
                <a:lnTo>
                  <a:pt x="489076" y="223139"/>
                </a:lnTo>
                <a:lnTo>
                  <a:pt x="487172" y="229870"/>
                </a:lnTo>
                <a:lnTo>
                  <a:pt x="482091" y="234950"/>
                </a:lnTo>
                <a:lnTo>
                  <a:pt x="477012" y="240030"/>
                </a:lnTo>
                <a:lnTo>
                  <a:pt x="470280" y="241808"/>
                </a:lnTo>
                <a:lnTo>
                  <a:pt x="461899" y="240411"/>
                </a:lnTo>
                <a:lnTo>
                  <a:pt x="459198" y="239762"/>
                </a:lnTo>
                <a:lnTo>
                  <a:pt x="450235" y="235458"/>
                </a:lnTo>
                <a:lnTo>
                  <a:pt x="439542" y="227546"/>
                </a:lnTo>
                <a:lnTo>
                  <a:pt x="427100" y="216027"/>
                </a:lnTo>
                <a:lnTo>
                  <a:pt x="421634" y="210320"/>
                </a:lnTo>
                <a:lnTo>
                  <a:pt x="429869" y="240066"/>
                </a:lnTo>
                <a:lnTo>
                  <a:pt x="440964" y="247709"/>
                </a:lnTo>
                <a:lnTo>
                  <a:pt x="451474" y="252738"/>
                </a:lnTo>
                <a:lnTo>
                  <a:pt x="461390" y="255143"/>
                </a:lnTo>
                <a:lnTo>
                  <a:pt x="468757" y="255246"/>
                </a:lnTo>
                <a:lnTo>
                  <a:pt x="480533" y="251898"/>
                </a:lnTo>
                <a:close/>
              </a:path>
              <a:path w="642391" h="659142">
                <a:moveTo>
                  <a:pt x="572008" y="160147"/>
                </a:moveTo>
                <a:lnTo>
                  <a:pt x="481457" y="69469"/>
                </a:lnTo>
                <a:lnTo>
                  <a:pt x="474345" y="76708"/>
                </a:lnTo>
                <a:lnTo>
                  <a:pt x="476250" y="82550"/>
                </a:lnTo>
                <a:lnTo>
                  <a:pt x="477012" y="89789"/>
                </a:lnTo>
                <a:lnTo>
                  <a:pt x="476503" y="98552"/>
                </a:lnTo>
                <a:lnTo>
                  <a:pt x="476361" y="100585"/>
                </a:lnTo>
                <a:lnTo>
                  <a:pt x="474467" y="112911"/>
                </a:lnTo>
                <a:lnTo>
                  <a:pt x="470788" y="125476"/>
                </a:lnTo>
                <a:lnTo>
                  <a:pt x="481584" y="136144"/>
                </a:lnTo>
                <a:lnTo>
                  <a:pt x="483742" y="131445"/>
                </a:lnTo>
                <a:lnTo>
                  <a:pt x="485648" y="125603"/>
                </a:lnTo>
                <a:lnTo>
                  <a:pt x="487552" y="118745"/>
                </a:lnTo>
                <a:lnTo>
                  <a:pt x="489330" y="111887"/>
                </a:lnTo>
                <a:lnTo>
                  <a:pt x="490220" y="105791"/>
                </a:lnTo>
                <a:lnTo>
                  <a:pt x="490347" y="100584"/>
                </a:lnTo>
                <a:lnTo>
                  <a:pt x="560959" y="171196"/>
                </a:lnTo>
                <a:lnTo>
                  <a:pt x="572008" y="160147"/>
                </a:lnTo>
                <a:close/>
              </a:path>
              <a:path w="642391" h="659142">
                <a:moveTo>
                  <a:pt x="620669" y="111817"/>
                </a:moveTo>
                <a:lnTo>
                  <a:pt x="622173" y="94869"/>
                </a:lnTo>
                <a:lnTo>
                  <a:pt x="617092" y="99949"/>
                </a:lnTo>
                <a:lnTo>
                  <a:pt x="610362" y="101727"/>
                </a:lnTo>
                <a:lnTo>
                  <a:pt x="601979" y="100330"/>
                </a:lnTo>
                <a:lnTo>
                  <a:pt x="599279" y="99681"/>
                </a:lnTo>
                <a:lnTo>
                  <a:pt x="590316" y="95377"/>
                </a:lnTo>
                <a:lnTo>
                  <a:pt x="579623" y="87465"/>
                </a:lnTo>
                <a:lnTo>
                  <a:pt x="567182" y="75946"/>
                </a:lnTo>
                <a:lnTo>
                  <a:pt x="561771" y="70299"/>
                </a:lnTo>
                <a:lnTo>
                  <a:pt x="552059" y="58706"/>
                </a:lnTo>
                <a:lnTo>
                  <a:pt x="545644" y="48523"/>
                </a:lnTo>
                <a:lnTo>
                  <a:pt x="545958" y="76647"/>
                </a:lnTo>
                <a:lnTo>
                  <a:pt x="555878" y="87376"/>
                </a:lnTo>
                <a:lnTo>
                  <a:pt x="558281" y="89737"/>
                </a:lnTo>
                <a:lnTo>
                  <a:pt x="569950" y="99985"/>
                </a:lnTo>
                <a:lnTo>
                  <a:pt x="581045" y="107628"/>
                </a:lnTo>
                <a:lnTo>
                  <a:pt x="591555" y="112657"/>
                </a:lnTo>
                <a:lnTo>
                  <a:pt x="601472" y="115062"/>
                </a:lnTo>
                <a:lnTo>
                  <a:pt x="608853" y="115165"/>
                </a:lnTo>
                <a:lnTo>
                  <a:pt x="620669" y="11181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8" name="object 198"/>
          <p:cNvSpPr/>
          <p:nvPr/>
        </p:nvSpPr>
        <p:spPr>
          <a:xfrm>
            <a:off x="5759196" y="3961280"/>
            <a:ext cx="632332" cy="486804"/>
          </a:xfrm>
          <a:custGeom>
            <a:avLst/>
            <a:gdLst/>
            <a:ahLst/>
            <a:cxnLst/>
            <a:rect l="l" t="t" r="r" b="b"/>
            <a:pathLst>
              <a:path w="632332" h="649973">
                <a:moveTo>
                  <a:pt x="421634" y="201176"/>
                </a:moveTo>
                <a:lnTo>
                  <a:pt x="411942" y="189607"/>
                </a:lnTo>
                <a:lnTo>
                  <a:pt x="405510" y="179445"/>
                </a:lnTo>
                <a:lnTo>
                  <a:pt x="402336" y="170688"/>
                </a:lnTo>
                <a:lnTo>
                  <a:pt x="405877" y="207527"/>
                </a:lnTo>
                <a:lnTo>
                  <a:pt x="415798" y="218313"/>
                </a:lnTo>
                <a:lnTo>
                  <a:pt x="418200" y="220674"/>
                </a:lnTo>
                <a:lnTo>
                  <a:pt x="429869" y="230922"/>
                </a:lnTo>
                <a:lnTo>
                  <a:pt x="421634" y="201176"/>
                </a:lnTo>
                <a:close/>
              </a:path>
              <a:path w="632332" h="649973">
                <a:moveTo>
                  <a:pt x="480551" y="242716"/>
                </a:moveTo>
                <a:lnTo>
                  <a:pt x="491236" y="234823"/>
                </a:lnTo>
                <a:lnTo>
                  <a:pt x="497839" y="228219"/>
                </a:lnTo>
                <a:lnTo>
                  <a:pt x="501523" y="220980"/>
                </a:lnTo>
                <a:lnTo>
                  <a:pt x="502284" y="213106"/>
                </a:lnTo>
                <a:lnTo>
                  <a:pt x="502310" y="212832"/>
                </a:lnTo>
                <a:lnTo>
                  <a:pt x="501491" y="200866"/>
                </a:lnTo>
                <a:lnTo>
                  <a:pt x="496950" y="188341"/>
                </a:lnTo>
                <a:lnTo>
                  <a:pt x="492105" y="180057"/>
                </a:lnTo>
                <a:lnTo>
                  <a:pt x="484470" y="170042"/>
                </a:lnTo>
                <a:lnTo>
                  <a:pt x="474599" y="159385"/>
                </a:lnTo>
                <a:lnTo>
                  <a:pt x="470359" y="155255"/>
                </a:lnTo>
                <a:lnTo>
                  <a:pt x="460182" y="146358"/>
                </a:lnTo>
                <a:lnTo>
                  <a:pt x="451230" y="140081"/>
                </a:lnTo>
                <a:lnTo>
                  <a:pt x="444626" y="136144"/>
                </a:lnTo>
                <a:lnTo>
                  <a:pt x="438276" y="133604"/>
                </a:lnTo>
                <a:lnTo>
                  <a:pt x="432180" y="132334"/>
                </a:lnTo>
                <a:lnTo>
                  <a:pt x="426212" y="130937"/>
                </a:lnTo>
                <a:lnTo>
                  <a:pt x="420369" y="131191"/>
                </a:lnTo>
                <a:lnTo>
                  <a:pt x="414781" y="132842"/>
                </a:lnTo>
                <a:lnTo>
                  <a:pt x="409066" y="134620"/>
                </a:lnTo>
                <a:lnTo>
                  <a:pt x="403859" y="137922"/>
                </a:lnTo>
                <a:lnTo>
                  <a:pt x="399033" y="142748"/>
                </a:lnTo>
                <a:lnTo>
                  <a:pt x="392429" y="149225"/>
                </a:lnTo>
                <a:lnTo>
                  <a:pt x="388746" y="156464"/>
                </a:lnTo>
                <a:lnTo>
                  <a:pt x="387984" y="164338"/>
                </a:lnTo>
                <a:lnTo>
                  <a:pt x="387949" y="164722"/>
                </a:lnTo>
                <a:lnTo>
                  <a:pt x="388790" y="176652"/>
                </a:lnTo>
                <a:lnTo>
                  <a:pt x="393318" y="189230"/>
                </a:lnTo>
                <a:lnTo>
                  <a:pt x="398231" y="197530"/>
                </a:lnTo>
                <a:lnTo>
                  <a:pt x="405877" y="207527"/>
                </a:lnTo>
                <a:lnTo>
                  <a:pt x="402336" y="170688"/>
                </a:lnTo>
                <a:lnTo>
                  <a:pt x="401065" y="163322"/>
                </a:lnTo>
                <a:lnTo>
                  <a:pt x="402970" y="157099"/>
                </a:lnTo>
                <a:lnTo>
                  <a:pt x="408050" y="152019"/>
                </a:lnTo>
                <a:lnTo>
                  <a:pt x="413257" y="146812"/>
                </a:lnTo>
                <a:lnTo>
                  <a:pt x="419988" y="144907"/>
                </a:lnTo>
                <a:lnTo>
                  <a:pt x="428370" y="146431"/>
                </a:lnTo>
                <a:lnTo>
                  <a:pt x="431071" y="147079"/>
                </a:lnTo>
                <a:lnTo>
                  <a:pt x="440034" y="151383"/>
                </a:lnTo>
                <a:lnTo>
                  <a:pt x="450727" y="159295"/>
                </a:lnTo>
                <a:lnTo>
                  <a:pt x="463168" y="170815"/>
                </a:lnTo>
                <a:lnTo>
                  <a:pt x="467470" y="175187"/>
                </a:lnTo>
                <a:lnTo>
                  <a:pt x="477790" y="186997"/>
                </a:lnTo>
                <a:lnTo>
                  <a:pt x="484484" y="197096"/>
                </a:lnTo>
                <a:lnTo>
                  <a:pt x="487552" y="205486"/>
                </a:lnTo>
                <a:lnTo>
                  <a:pt x="489076" y="213995"/>
                </a:lnTo>
                <a:lnTo>
                  <a:pt x="487171" y="220726"/>
                </a:lnTo>
                <a:lnTo>
                  <a:pt x="482091" y="225806"/>
                </a:lnTo>
                <a:lnTo>
                  <a:pt x="477012" y="230886"/>
                </a:lnTo>
                <a:lnTo>
                  <a:pt x="470280" y="232664"/>
                </a:lnTo>
                <a:lnTo>
                  <a:pt x="461899" y="231267"/>
                </a:lnTo>
                <a:lnTo>
                  <a:pt x="459198" y="230586"/>
                </a:lnTo>
                <a:lnTo>
                  <a:pt x="450235" y="226259"/>
                </a:lnTo>
                <a:lnTo>
                  <a:pt x="439542" y="218378"/>
                </a:lnTo>
                <a:lnTo>
                  <a:pt x="427100" y="206883"/>
                </a:lnTo>
                <a:lnTo>
                  <a:pt x="421634" y="201176"/>
                </a:lnTo>
                <a:lnTo>
                  <a:pt x="429869" y="230922"/>
                </a:lnTo>
                <a:lnTo>
                  <a:pt x="440964" y="238565"/>
                </a:lnTo>
                <a:lnTo>
                  <a:pt x="451474" y="243594"/>
                </a:lnTo>
                <a:lnTo>
                  <a:pt x="461390" y="245999"/>
                </a:lnTo>
                <a:lnTo>
                  <a:pt x="468797" y="246097"/>
                </a:lnTo>
                <a:lnTo>
                  <a:pt x="480551" y="242716"/>
                </a:lnTo>
                <a:close/>
              </a:path>
              <a:path w="632332" h="649973">
                <a:moveTo>
                  <a:pt x="572007" y="151003"/>
                </a:moveTo>
                <a:lnTo>
                  <a:pt x="481456" y="60325"/>
                </a:lnTo>
                <a:lnTo>
                  <a:pt x="474217" y="67437"/>
                </a:lnTo>
                <a:lnTo>
                  <a:pt x="476250" y="73279"/>
                </a:lnTo>
                <a:lnTo>
                  <a:pt x="477012" y="80645"/>
                </a:lnTo>
                <a:lnTo>
                  <a:pt x="476503" y="89408"/>
                </a:lnTo>
                <a:lnTo>
                  <a:pt x="476370" y="91330"/>
                </a:lnTo>
                <a:lnTo>
                  <a:pt x="474480" y="103691"/>
                </a:lnTo>
                <a:lnTo>
                  <a:pt x="470788" y="116205"/>
                </a:lnTo>
                <a:lnTo>
                  <a:pt x="481583" y="127000"/>
                </a:lnTo>
                <a:lnTo>
                  <a:pt x="483742" y="122301"/>
                </a:lnTo>
                <a:lnTo>
                  <a:pt x="485648" y="116459"/>
                </a:lnTo>
                <a:lnTo>
                  <a:pt x="487425" y="109601"/>
                </a:lnTo>
                <a:lnTo>
                  <a:pt x="489203" y="102743"/>
                </a:lnTo>
                <a:lnTo>
                  <a:pt x="490219" y="96647"/>
                </a:lnTo>
                <a:lnTo>
                  <a:pt x="490346" y="91440"/>
                </a:lnTo>
                <a:lnTo>
                  <a:pt x="560958" y="162052"/>
                </a:lnTo>
                <a:lnTo>
                  <a:pt x="572007" y="151003"/>
                </a:lnTo>
                <a:close/>
              </a:path>
              <a:path w="632332" h="649973">
                <a:moveTo>
                  <a:pt x="632332" y="90678"/>
                </a:moveTo>
                <a:lnTo>
                  <a:pt x="541781" y="0"/>
                </a:lnTo>
                <a:lnTo>
                  <a:pt x="534669" y="7112"/>
                </a:lnTo>
                <a:lnTo>
                  <a:pt x="536575" y="12954"/>
                </a:lnTo>
                <a:lnTo>
                  <a:pt x="537337" y="20320"/>
                </a:lnTo>
                <a:lnTo>
                  <a:pt x="536828" y="29083"/>
                </a:lnTo>
                <a:lnTo>
                  <a:pt x="536695" y="31003"/>
                </a:lnTo>
                <a:lnTo>
                  <a:pt x="534805" y="43316"/>
                </a:lnTo>
                <a:lnTo>
                  <a:pt x="531113" y="55880"/>
                </a:lnTo>
                <a:lnTo>
                  <a:pt x="541908" y="66675"/>
                </a:lnTo>
                <a:lnTo>
                  <a:pt x="544067" y="61849"/>
                </a:lnTo>
                <a:lnTo>
                  <a:pt x="546100" y="56134"/>
                </a:lnTo>
                <a:lnTo>
                  <a:pt x="547877" y="49276"/>
                </a:lnTo>
                <a:lnTo>
                  <a:pt x="549655" y="42291"/>
                </a:lnTo>
                <a:lnTo>
                  <a:pt x="550544" y="36322"/>
                </a:lnTo>
                <a:lnTo>
                  <a:pt x="550671" y="31115"/>
                </a:lnTo>
                <a:lnTo>
                  <a:pt x="621283" y="101727"/>
                </a:lnTo>
                <a:lnTo>
                  <a:pt x="632332" y="90678"/>
                </a:lnTo>
                <a:close/>
              </a:path>
              <a:path w="632332" h="649973">
                <a:moveTo>
                  <a:pt x="315594" y="410527"/>
                </a:moveTo>
                <a:lnTo>
                  <a:pt x="322199" y="403923"/>
                </a:lnTo>
                <a:lnTo>
                  <a:pt x="325881" y="396671"/>
                </a:lnTo>
                <a:lnTo>
                  <a:pt x="326643" y="388797"/>
                </a:lnTo>
                <a:lnTo>
                  <a:pt x="326675" y="388457"/>
                </a:lnTo>
                <a:lnTo>
                  <a:pt x="325843" y="376493"/>
                </a:lnTo>
                <a:lnTo>
                  <a:pt x="321309" y="363956"/>
                </a:lnTo>
                <a:lnTo>
                  <a:pt x="316479" y="355749"/>
                </a:lnTo>
                <a:lnTo>
                  <a:pt x="308839" y="345746"/>
                </a:lnTo>
                <a:lnTo>
                  <a:pt x="298957" y="335051"/>
                </a:lnTo>
                <a:lnTo>
                  <a:pt x="294675" y="330898"/>
                </a:lnTo>
                <a:lnTo>
                  <a:pt x="284502" y="321999"/>
                </a:lnTo>
                <a:lnTo>
                  <a:pt x="275589" y="315747"/>
                </a:lnTo>
                <a:lnTo>
                  <a:pt x="268986" y="311835"/>
                </a:lnTo>
                <a:lnTo>
                  <a:pt x="262636" y="309219"/>
                </a:lnTo>
                <a:lnTo>
                  <a:pt x="256539" y="307936"/>
                </a:lnTo>
                <a:lnTo>
                  <a:pt x="250443" y="306641"/>
                </a:lnTo>
                <a:lnTo>
                  <a:pt x="244728" y="306844"/>
                </a:lnTo>
                <a:lnTo>
                  <a:pt x="239013" y="308546"/>
                </a:lnTo>
                <a:lnTo>
                  <a:pt x="233425" y="310248"/>
                </a:lnTo>
                <a:lnTo>
                  <a:pt x="228218" y="313524"/>
                </a:lnTo>
                <a:lnTo>
                  <a:pt x="223392" y="318363"/>
                </a:lnTo>
                <a:lnTo>
                  <a:pt x="216788" y="324929"/>
                </a:lnTo>
                <a:lnTo>
                  <a:pt x="213105" y="332143"/>
                </a:lnTo>
                <a:lnTo>
                  <a:pt x="212343" y="340004"/>
                </a:lnTo>
                <a:lnTo>
                  <a:pt x="212312" y="340343"/>
                </a:lnTo>
                <a:lnTo>
                  <a:pt x="213144" y="352289"/>
                </a:lnTo>
                <a:lnTo>
                  <a:pt x="217677" y="364845"/>
                </a:lnTo>
                <a:lnTo>
                  <a:pt x="222470" y="373141"/>
                </a:lnTo>
                <a:lnTo>
                  <a:pt x="230091" y="383168"/>
                </a:lnTo>
                <a:lnTo>
                  <a:pt x="229846" y="355104"/>
                </a:lnTo>
                <a:lnTo>
                  <a:pt x="226694" y="346316"/>
                </a:lnTo>
                <a:lnTo>
                  <a:pt x="225425" y="338975"/>
                </a:lnTo>
                <a:lnTo>
                  <a:pt x="227329" y="332752"/>
                </a:lnTo>
                <a:lnTo>
                  <a:pt x="232409" y="327660"/>
                </a:lnTo>
                <a:lnTo>
                  <a:pt x="237616" y="322491"/>
                </a:lnTo>
                <a:lnTo>
                  <a:pt x="244348" y="320611"/>
                </a:lnTo>
                <a:lnTo>
                  <a:pt x="252729" y="322033"/>
                </a:lnTo>
                <a:lnTo>
                  <a:pt x="264400" y="327005"/>
                </a:lnTo>
                <a:lnTo>
                  <a:pt x="275090" y="334923"/>
                </a:lnTo>
                <a:lnTo>
                  <a:pt x="287527" y="346443"/>
                </a:lnTo>
                <a:lnTo>
                  <a:pt x="291879" y="350882"/>
                </a:lnTo>
                <a:lnTo>
                  <a:pt x="302137" y="362697"/>
                </a:lnTo>
                <a:lnTo>
                  <a:pt x="308794" y="372799"/>
                </a:lnTo>
                <a:lnTo>
                  <a:pt x="311912" y="381190"/>
                </a:lnTo>
                <a:lnTo>
                  <a:pt x="313308" y="389585"/>
                </a:lnTo>
                <a:lnTo>
                  <a:pt x="311530" y="396328"/>
                </a:lnTo>
                <a:lnTo>
                  <a:pt x="306450" y="401421"/>
                </a:lnTo>
                <a:lnTo>
                  <a:pt x="304906" y="418386"/>
                </a:lnTo>
                <a:lnTo>
                  <a:pt x="315594" y="410527"/>
                </a:lnTo>
                <a:close/>
              </a:path>
              <a:path w="632332" h="649973">
                <a:moveTo>
                  <a:pt x="175513" y="550621"/>
                </a:moveTo>
                <a:lnTo>
                  <a:pt x="182117" y="544017"/>
                </a:lnTo>
                <a:lnTo>
                  <a:pt x="185800" y="536765"/>
                </a:lnTo>
                <a:lnTo>
                  <a:pt x="186562" y="528891"/>
                </a:lnTo>
                <a:lnTo>
                  <a:pt x="186594" y="528551"/>
                </a:lnTo>
                <a:lnTo>
                  <a:pt x="185762" y="516587"/>
                </a:lnTo>
                <a:lnTo>
                  <a:pt x="181228" y="504050"/>
                </a:lnTo>
                <a:lnTo>
                  <a:pt x="176398" y="495842"/>
                </a:lnTo>
                <a:lnTo>
                  <a:pt x="168758" y="485840"/>
                </a:lnTo>
                <a:lnTo>
                  <a:pt x="158876" y="475145"/>
                </a:lnTo>
                <a:lnTo>
                  <a:pt x="154594" y="470992"/>
                </a:lnTo>
                <a:lnTo>
                  <a:pt x="144421" y="462093"/>
                </a:lnTo>
                <a:lnTo>
                  <a:pt x="135508" y="455841"/>
                </a:lnTo>
                <a:lnTo>
                  <a:pt x="128904" y="451929"/>
                </a:lnTo>
                <a:lnTo>
                  <a:pt x="122554" y="449313"/>
                </a:lnTo>
                <a:lnTo>
                  <a:pt x="116458" y="448030"/>
                </a:lnTo>
                <a:lnTo>
                  <a:pt x="110362" y="446735"/>
                </a:lnTo>
                <a:lnTo>
                  <a:pt x="104520" y="446938"/>
                </a:lnTo>
                <a:lnTo>
                  <a:pt x="98932" y="448640"/>
                </a:lnTo>
                <a:lnTo>
                  <a:pt x="93344" y="450342"/>
                </a:lnTo>
                <a:lnTo>
                  <a:pt x="88137" y="453618"/>
                </a:lnTo>
                <a:lnTo>
                  <a:pt x="83312" y="458457"/>
                </a:lnTo>
                <a:lnTo>
                  <a:pt x="76707" y="465023"/>
                </a:lnTo>
                <a:lnTo>
                  <a:pt x="73025" y="472236"/>
                </a:lnTo>
                <a:lnTo>
                  <a:pt x="72262" y="480098"/>
                </a:lnTo>
                <a:lnTo>
                  <a:pt x="72234" y="480407"/>
                </a:lnTo>
                <a:lnTo>
                  <a:pt x="73043" y="492367"/>
                </a:lnTo>
                <a:lnTo>
                  <a:pt x="77469" y="504939"/>
                </a:lnTo>
                <a:lnTo>
                  <a:pt x="82374" y="513276"/>
                </a:lnTo>
                <a:lnTo>
                  <a:pt x="90023" y="523284"/>
                </a:lnTo>
                <a:lnTo>
                  <a:pt x="89709" y="495198"/>
                </a:lnTo>
                <a:lnTo>
                  <a:pt x="86613" y="486410"/>
                </a:lnTo>
                <a:lnTo>
                  <a:pt x="85343" y="479056"/>
                </a:lnTo>
                <a:lnTo>
                  <a:pt x="87249" y="472846"/>
                </a:lnTo>
                <a:lnTo>
                  <a:pt x="92328" y="467753"/>
                </a:lnTo>
                <a:lnTo>
                  <a:pt x="97536" y="462584"/>
                </a:lnTo>
                <a:lnTo>
                  <a:pt x="104266" y="460705"/>
                </a:lnTo>
                <a:lnTo>
                  <a:pt x="112649" y="462127"/>
                </a:lnTo>
                <a:lnTo>
                  <a:pt x="124319" y="467098"/>
                </a:lnTo>
                <a:lnTo>
                  <a:pt x="135009" y="475017"/>
                </a:lnTo>
                <a:lnTo>
                  <a:pt x="147446" y="486537"/>
                </a:lnTo>
                <a:lnTo>
                  <a:pt x="151767" y="490976"/>
                </a:lnTo>
                <a:lnTo>
                  <a:pt x="162001" y="502791"/>
                </a:lnTo>
                <a:lnTo>
                  <a:pt x="168689" y="512893"/>
                </a:lnTo>
                <a:lnTo>
                  <a:pt x="171830" y="521284"/>
                </a:lnTo>
                <a:lnTo>
                  <a:pt x="173227" y="529678"/>
                </a:lnTo>
                <a:lnTo>
                  <a:pt x="171450" y="536422"/>
                </a:lnTo>
                <a:lnTo>
                  <a:pt x="166369" y="541515"/>
                </a:lnTo>
                <a:lnTo>
                  <a:pt x="164827" y="558478"/>
                </a:lnTo>
                <a:lnTo>
                  <a:pt x="175513" y="550621"/>
                </a:lnTo>
                <a:close/>
              </a:path>
              <a:path w="632332" h="649973">
                <a:moveTo>
                  <a:pt x="132714" y="590321"/>
                </a:moveTo>
                <a:lnTo>
                  <a:pt x="122046" y="579666"/>
                </a:lnTo>
                <a:lnTo>
                  <a:pt x="77724" y="623925"/>
                </a:lnTo>
                <a:lnTo>
                  <a:pt x="76962" y="620687"/>
                </a:lnTo>
                <a:lnTo>
                  <a:pt x="76580" y="617131"/>
                </a:lnTo>
                <a:lnTo>
                  <a:pt x="76326" y="609371"/>
                </a:lnTo>
                <a:lnTo>
                  <a:pt x="76834" y="601319"/>
                </a:lnTo>
                <a:lnTo>
                  <a:pt x="77850" y="589089"/>
                </a:lnTo>
                <a:lnTo>
                  <a:pt x="78590" y="579496"/>
                </a:lnTo>
                <a:lnTo>
                  <a:pt x="79215" y="566162"/>
                </a:lnTo>
                <a:lnTo>
                  <a:pt x="79120" y="556120"/>
                </a:lnTo>
                <a:lnTo>
                  <a:pt x="78739" y="548830"/>
                </a:lnTo>
                <a:lnTo>
                  <a:pt x="77469" y="542709"/>
                </a:lnTo>
                <a:lnTo>
                  <a:pt x="75437" y="537743"/>
                </a:lnTo>
                <a:lnTo>
                  <a:pt x="73405" y="532777"/>
                </a:lnTo>
                <a:lnTo>
                  <a:pt x="70612" y="528485"/>
                </a:lnTo>
                <a:lnTo>
                  <a:pt x="67055" y="524878"/>
                </a:lnTo>
                <a:lnTo>
                  <a:pt x="54270" y="516573"/>
                </a:lnTo>
                <a:lnTo>
                  <a:pt x="41528" y="514591"/>
                </a:lnTo>
                <a:lnTo>
                  <a:pt x="36478" y="515098"/>
                </a:lnTo>
                <a:lnTo>
                  <a:pt x="24862" y="519370"/>
                </a:lnTo>
                <a:lnTo>
                  <a:pt x="13842" y="527951"/>
                </a:lnTo>
                <a:lnTo>
                  <a:pt x="9850" y="532293"/>
                </a:lnTo>
                <a:lnTo>
                  <a:pt x="2850" y="543461"/>
                </a:lnTo>
                <a:lnTo>
                  <a:pt x="0" y="555129"/>
                </a:lnTo>
                <a:lnTo>
                  <a:pt x="42" y="560025"/>
                </a:lnTo>
                <a:lnTo>
                  <a:pt x="3197" y="571760"/>
                </a:lnTo>
                <a:lnTo>
                  <a:pt x="10667" y="583361"/>
                </a:lnTo>
                <a:lnTo>
                  <a:pt x="23240" y="573138"/>
                </a:lnTo>
                <a:lnTo>
                  <a:pt x="17525" y="567436"/>
                </a:lnTo>
                <a:lnTo>
                  <a:pt x="14731" y="561378"/>
                </a:lnTo>
                <a:lnTo>
                  <a:pt x="14731" y="548576"/>
                </a:lnTo>
                <a:lnTo>
                  <a:pt x="17399" y="542709"/>
                </a:lnTo>
                <a:lnTo>
                  <a:pt x="22732" y="537375"/>
                </a:lnTo>
                <a:lnTo>
                  <a:pt x="27812" y="532320"/>
                </a:lnTo>
                <a:lnTo>
                  <a:pt x="33400" y="529742"/>
                </a:lnTo>
                <a:lnTo>
                  <a:pt x="39496" y="529615"/>
                </a:lnTo>
                <a:lnTo>
                  <a:pt x="45719" y="529488"/>
                </a:lnTo>
                <a:lnTo>
                  <a:pt x="50926" y="531622"/>
                </a:lnTo>
                <a:lnTo>
                  <a:pt x="55371" y="536016"/>
                </a:lnTo>
                <a:lnTo>
                  <a:pt x="59562" y="540207"/>
                </a:lnTo>
                <a:lnTo>
                  <a:pt x="62229" y="546366"/>
                </a:lnTo>
                <a:lnTo>
                  <a:pt x="63500" y="554520"/>
                </a:lnTo>
                <a:lnTo>
                  <a:pt x="64274" y="564891"/>
                </a:lnTo>
                <a:lnTo>
                  <a:pt x="63987" y="577673"/>
                </a:lnTo>
                <a:lnTo>
                  <a:pt x="62737" y="593521"/>
                </a:lnTo>
                <a:lnTo>
                  <a:pt x="62421" y="596910"/>
                </a:lnTo>
                <a:lnTo>
                  <a:pt x="61658" y="610571"/>
                </a:lnTo>
                <a:lnTo>
                  <a:pt x="61975" y="621677"/>
                </a:lnTo>
                <a:lnTo>
                  <a:pt x="62483" y="628967"/>
                </a:lnTo>
                <a:lnTo>
                  <a:pt x="64134" y="635406"/>
                </a:lnTo>
                <a:lnTo>
                  <a:pt x="66675" y="640981"/>
                </a:lnTo>
                <a:lnTo>
                  <a:pt x="68199" y="644385"/>
                </a:lnTo>
                <a:lnTo>
                  <a:pt x="70357" y="647382"/>
                </a:lnTo>
                <a:lnTo>
                  <a:pt x="73025" y="649973"/>
                </a:lnTo>
                <a:lnTo>
                  <a:pt x="132714" y="590321"/>
                </a:lnTo>
                <a:close/>
              </a:path>
              <a:path w="632332" h="649973">
                <a:moveTo>
                  <a:pt x="164827" y="558478"/>
                </a:moveTo>
                <a:lnTo>
                  <a:pt x="166369" y="541515"/>
                </a:lnTo>
                <a:lnTo>
                  <a:pt x="161289" y="546595"/>
                </a:lnTo>
                <a:lnTo>
                  <a:pt x="154558" y="548424"/>
                </a:lnTo>
                <a:lnTo>
                  <a:pt x="146176" y="546989"/>
                </a:lnTo>
                <a:lnTo>
                  <a:pt x="143476" y="546329"/>
                </a:lnTo>
                <a:lnTo>
                  <a:pt x="134513" y="542008"/>
                </a:lnTo>
                <a:lnTo>
                  <a:pt x="123820" y="534100"/>
                </a:lnTo>
                <a:lnTo>
                  <a:pt x="111378" y="522605"/>
                </a:lnTo>
                <a:lnTo>
                  <a:pt x="105869" y="516915"/>
                </a:lnTo>
                <a:lnTo>
                  <a:pt x="96128" y="505366"/>
                </a:lnTo>
                <a:lnTo>
                  <a:pt x="89709" y="495198"/>
                </a:lnTo>
                <a:lnTo>
                  <a:pt x="90023" y="523284"/>
                </a:lnTo>
                <a:lnTo>
                  <a:pt x="99949" y="533996"/>
                </a:lnTo>
                <a:lnTo>
                  <a:pt x="102501" y="536495"/>
                </a:lnTo>
                <a:lnTo>
                  <a:pt x="114195" y="546719"/>
                </a:lnTo>
                <a:lnTo>
                  <a:pt x="125288" y="554338"/>
                </a:lnTo>
                <a:lnTo>
                  <a:pt x="135779" y="559351"/>
                </a:lnTo>
                <a:lnTo>
                  <a:pt x="145668" y="561759"/>
                </a:lnTo>
                <a:lnTo>
                  <a:pt x="153071" y="561860"/>
                </a:lnTo>
                <a:lnTo>
                  <a:pt x="164827" y="558478"/>
                </a:lnTo>
                <a:close/>
              </a:path>
              <a:path w="632332" h="649973">
                <a:moveTo>
                  <a:pt x="256286" y="466725"/>
                </a:moveTo>
                <a:lnTo>
                  <a:pt x="165734" y="376097"/>
                </a:lnTo>
                <a:lnTo>
                  <a:pt x="158495" y="383247"/>
                </a:lnTo>
                <a:lnTo>
                  <a:pt x="160527" y="389064"/>
                </a:lnTo>
                <a:lnTo>
                  <a:pt x="161289" y="396379"/>
                </a:lnTo>
                <a:lnTo>
                  <a:pt x="160781" y="405155"/>
                </a:lnTo>
                <a:lnTo>
                  <a:pt x="160644" y="407126"/>
                </a:lnTo>
                <a:lnTo>
                  <a:pt x="158753" y="419458"/>
                </a:lnTo>
                <a:lnTo>
                  <a:pt x="155066" y="432003"/>
                </a:lnTo>
                <a:lnTo>
                  <a:pt x="165734" y="442709"/>
                </a:lnTo>
                <a:lnTo>
                  <a:pt x="168020" y="437997"/>
                </a:lnTo>
                <a:lnTo>
                  <a:pt x="169925" y="432193"/>
                </a:lnTo>
                <a:lnTo>
                  <a:pt x="171703" y="425323"/>
                </a:lnTo>
                <a:lnTo>
                  <a:pt x="173481" y="418452"/>
                </a:lnTo>
                <a:lnTo>
                  <a:pt x="174498" y="412407"/>
                </a:lnTo>
                <a:lnTo>
                  <a:pt x="174625" y="407187"/>
                </a:lnTo>
                <a:lnTo>
                  <a:pt x="245237" y="477799"/>
                </a:lnTo>
                <a:lnTo>
                  <a:pt x="256286" y="466725"/>
                </a:lnTo>
                <a:close/>
              </a:path>
              <a:path w="632332" h="649973">
                <a:moveTo>
                  <a:pt x="304906" y="418386"/>
                </a:moveTo>
                <a:lnTo>
                  <a:pt x="306450" y="401421"/>
                </a:lnTo>
                <a:lnTo>
                  <a:pt x="301370" y="406501"/>
                </a:lnTo>
                <a:lnTo>
                  <a:pt x="294639" y="408330"/>
                </a:lnTo>
                <a:lnTo>
                  <a:pt x="286257" y="406895"/>
                </a:lnTo>
                <a:lnTo>
                  <a:pt x="283557" y="406235"/>
                </a:lnTo>
                <a:lnTo>
                  <a:pt x="274594" y="401915"/>
                </a:lnTo>
                <a:lnTo>
                  <a:pt x="263901" y="394006"/>
                </a:lnTo>
                <a:lnTo>
                  <a:pt x="251459" y="382511"/>
                </a:lnTo>
                <a:lnTo>
                  <a:pt x="245956" y="376822"/>
                </a:lnTo>
                <a:lnTo>
                  <a:pt x="236248" y="365273"/>
                </a:lnTo>
                <a:lnTo>
                  <a:pt x="229846" y="355104"/>
                </a:lnTo>
                <a:lnTo>
                  <a:pt x="230091" y="383168"/>
                </a:lnTo>
                <a:lnTo>
                  <a:pt x="240029" y="393903"/>
                </a:lnTo>
                <a:lnTo>
                  <a:pt x="242588" y="396407"/>
                </a:lnTo>
                <a:lnTo>
                  <a:pt x="254281" y="406628"/>
                </a:lnTo>
                <a:lnTo>
                  <a:pt x="265371" y="414247"/>
                </a:lnTo>
                <a:lnTo>
                  <a:pt x="275861" y="419264"/>
                </a:lnTo>
                <a:lnTo>
                  <a:pt x="285750" y="421678"/>
                </a:lnTo>
                <a:lnTo>
                  <a:pt x="293148" y="421773"/>
                </a:lnTo>
                <a:lnTo>
                  <a:pt x="304906" y="418386"/>
                </a:lnTo>
                <a:close/>
              </a:path>
              <a:path w="632332" h="649973">
                <a:moveTo>
                  <a:pt x="359917" y="366217"/>
                </a:moveTo>
                <a:lnTo>
                  <a:pt x="292607" y="246761"/>
                </a:lnTo>
                <a:lnTo>
                  <a:pt x="283844" y="255651"/>
                </a:lnTo>
                <a:lnTo>
                  <a:pt x="350900" y="375145"/>
                </a:lnTo>
                <a:lnTo>
                  <a:pt x="359917" y="366217"/>
                </a:lnTo>
                <a:close/>
              </a:path>
              <a:path w="632332" h="649973">
                <a:moveTo>
                  <a:pt x="448437" y="274574"/>
                </a:moveTo>
                <a:lnTo>
                  <a:pt x="437768" y="263906"/>
                </a:lnTo>
                <a:lnTo>
                  <a:pt x="393573" y="308178"/>
                </a:lnTo>
                <a:lnTo>
                  <a:pt x="392811" y="304939"/>
                </a:lnTo>
                <a:lnTo>
                  <a:pt x="392302" y="301383"/>
                </a:lnTo>
                <a:lnTo>
                  <a:pt x="392049" y="293624"/>
                </a:lnTo>
                <a:lnTo>
                  <a:pt x="392556" y="285623"/>
                </a:lnTo>
                <a:lnTo>
                  <a:pt x="393700" y="273304"/>
                </a:lnTo>
                <a:lnTo>
                  <a:pt x="394365" y="263829"/>
                </a:lnTo>
                <a:lnTo>
                  <a:pt x="394943" y="250465"/>
                </a:lnTo>
                <a:lnTo>
                  <a:pt x="394842" y="240411"/>
                </a:lnTo>
                <a:lnTo>
                  <a:pt x="394462" y="233045"/>
                </a:lnTo>
                <a:lnTo>
                  <a:pt x="393191" y="226949"/>
                </a:lnTo>
                <a:lnTo>
                  <a:pt x="391159" y="221996"/>
                </a:lnTo>
                <a:lnTo>
                  <a:pt x="389127" y="217043"/>
                </a:lnTo>
                <a:lnTo>
                  <a:pt x="386333" y="212725"/>
                </a:lnTo>
                <a:lnTo>
                  <a:pt x="382777" y="209169"/>
                </a:lnTo>
                <a:lnTo>
                  <a:pt x="370058" y="200871"/>
                </a:lnTo>
                <a:lnTo>
                  <a:pt x="357377" y="198882"/>
                </a:lnTo>
                <a:lnTo>
                  <a:pt x="352191" y="199408"/>
                </a:lnTo>
                <a:lnTo>
                  <a:pt x="340555" y="203681"/>
                </a:lnTo>
                <a:lnTo>
                  <a:pt x="329564" y="212217"/>
                </a:lnTo>
                <a:lnTo>
                  <a:pt x="325572" y="216537"/>
                </a:lnTo>
                <a:lnTo>
                  <a:pt x="318572" y="227713"/>
                </a:lnTo>
                <a:lnTo>
                  <a:pt x="315721" y="239395"/>
                </a:lnTo>
                <a:lnTo>
                  <a:pt x="315762" y="244253"/>
                </a:lnTo>
                <a:lnTo>
                  <a:pt x="318912" y="255986"/>
                </a:lnTo>
                <a:lnTo>
                  <a:pt x="326389" y="267589"/>
                </a:lnTo>
                <a:lnTo>
                  <a:pt x="338963" y="257429"/>
                </a:lnTo>
                <a:lnTo>
                  <a:pt x="333248" y="251714"/>
                </a:lnTo>
                <a:lnTo>
                  <a:pt x="330453" y="245618"/>
                </a:lnTo>
                <a:lnTo>
                  <a:pt x="330453" y="232791"/>
                </a:lnTo>
                <a:lnTo>
                  <a:pt x="333120" y="226949"/>
                </a:lnTo>
                <a:lnTo>
                  <a:pt x="338454" y="221615"/>
                </a:lnTo>
                <a:lnTo>
                  <a:pt x="343534" y="216535"/>
                </a:lnTo>
                <a:lnTo>
                  <a:pt x="349123" y="213995"/>
                </a:lnTo>
                <a:lnTo>
                  <a:pt x="355345" y="213868"/>
                </a:lnTo>
                <a:lnTo>
                  <a:pt x="361441" y="213741"/>
                </a:lnTo>
                <a:lnTo>
                  <a:pt x="366775" y="215900"/>
                </a:lnTo>
                <a:lnTo>
                  <a:pt x="371093" y="220218"/>
                </a:lnTo>
                <a:lnTo>
                  <a:pt x="375284" y="224409"/>
                </a:lnTo>
                <a:lnTo>
                  <a:pt x="378078" y="230632"/>
                </a:lnTo>
                <a:lnTo>
                  <a:pt x="379221" y="238760"/>
                </a:lnTo>
                <a:lnTo>
                  <a:pt x="379318" y="239411"/>
                </a:lnTo>
                <a:lnTo>
                  <a:pt x="379995" y="249133"/>
                </a:lnTo>
                <a:lnTo>
                  <a:pt x="379709" y="261930"/>
                </a:lnTo>
                <a:lnTo>
                  <a:pt x="378459" y="277749"/>
                </a:lnTo>
                <a:lnTo>
                  <a:pt x="378140" y="281185"/>
                </a:lnTo>
                <a:lnTo>
                  <a:pt x="377380" y="294870"/>
                </a:lnTo>
                <a:lnTo>
                  <a:pt x="377698" y="305930"/>
                </a:lnTo>
                <a:lnTo>
                  <a:pt x="378332" y="313220"/>
                </a:lnTo>
                <a:lnTo>
                  <a:pt x="379856" y="319659"/>
                </a:lnTo>
                <a:lnTo>
                  <a:pt x="382396" y="325234"/>
                </a:lnTo>
                <a:lnTo>
                  <a:pt x="383920" y="328637"/>
                </a:lnTo>
                <a:lnTo>
                  <a:pt x="386079" y="331635"/>
                </a:lnTo>
                <a:lnTo>
                  <a:pt x="388746" y="334225"/>
                </a:lnTo>
                <a:lnTo>
                  <a:pt x="448437" y="27457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9" name="object 199"/>
          <p:cNvSpPr/>
          <p:nvPr/>
        </p:nvSpPr>
        <p:spPr>
          <a:xfrm>
            <a:off x="6317234" y="3960043"/>
            <a:ext cx="648842" cy="488040"/>
          </a:xfrm>
          <a:custGeom>
            <a:avLst/>
            <a:gdLst/>
            <a:ahLst/>
            <a:cxnLst/>
            <a:rect l="l" t="t" r="r" b="b"/>
            <a:pathLst>
              <a:path w="648842" h="651624">
                <a:moveTo>
                  <a:pt x="164790" y="560129"/>
                </a:moveTo>
                <a:lnTo>
                  <a:pt x="166369" y="543166"/>
                </a:lnTo>
                <a:lnTo>
                  <a:pt x="161289" y="548246"/>
                </a:lnTo>
                <a:lnTo>
                  <a:pt x="154558" y="550075"/>
                </a:lnTo>
                <a:lnTo>
                  <a:pt x="146176" y="548640"/>
                </a:lnTo>
                <a:lnTo>
                  <a:pt x="143472" y="547980"/>
                </a:lnTo>
                <a:lnTo>
                  <a:pt x="134476" y="543659"/>
                </a:lnTo>
                <a:lnTo>
                  <a:pt x="123764" y="535751"/>
                </a:lnTo>
                <a:lnTo>
                  <a:pt x="111378" y="524256"/>
                </a:lnTo>
                <a:lnTo>
                  <a:pt x="105869" y="518566"/>
                </a:lnTo>
                <a:lnTo>
                  <a:pt x="96128" y="507017"/>
                </a:lnTo>
                <a:lnTo>
                  <a:pt x="89709" y="496849"/>
                </a:lnTo>
                <a:lnTo>
                  <a:pt x="90023" y="524935"/>
                </a:lnTo>
                <a:lnTo>
                  <a:pt x="99949" y="535647"/>
                </a:lnTo>
                <a:lnTo>
                  <a:pt x="102403" y="538052"/>
                </a:lnTo>
                <a:lnTo>
                  <a:pt x="114101" y="548315"/>
                </a:lnTo>
                <a:lnTo>
                  <a:pt x="125176" y="555963"/>
                </a:lnTo>
                <a:lnTo>
                  <a:pt x="135649" y="560995"/>
                </a:lnTo>
                <a:lnTo>
                  <a:pt x="145541" y="563410"/>
                </a:lnTo>
                <a:lnTo>
                  <a:pt x="153010" y="563511"/>
                </a:lnTo>
                <a:lnTo>
                  <a:pt x="164790" y="560129"/>
                </a:lnTo>
                <a:close/>
              </a:path>
              <a:path w="648842" h="651624">
                <a:moveTo>
                  <a:pt x="256286" y="468376"/>
                </a:moveTo>
                <a:lnTo>
                  <a:pt x="165607" y="377748"/>
                </a:lnTo>
                <a:lnTo>
                  <a:pt x="158495" y="384898"/>
                </a:lnTo>
                <a:lnTo>
                  <a:pt x="160527" y="390715"/>
                </a:lnTo>
                <a:lnTo>
                  <a:pt x="161162" y="398030"/>
                </a:lnTo>
                <a:lnTo>
                  <a:pt x="160654" y="406806"/>
                </a:lnTo>
                <a:lnTo>
                  <a:pt x="160545" y="408754"/>
                </a:lnTo>
                <a:lnTo>
                  <a:pt x="158743" y="421097"/>
                </a:lnTo>
                <a:lnTo>
                  <a:pt x="155066" y="433654"/>
                </a:lnTo>
                <a:lnTo>
                  <a:pt x="165735" y="444360"/>
                </a:lnTo>
                <a:lnTo>
                  <a:pt x="167893" y="439648"/>
                </a:lnTo>
                <a:lnTo>
                  <a:pt x="169925" y="433844"/>
                </a:lnTo>
                <a:lnTo>
                  <a:pt x="171703" y="426974"/>
                </a:lnTo>
                <a:lnTo>
                  <a:pt x="173481" y="420103"/>
                </a:lnTo>
                <a:lnTo>
                  <a:pt x="174498" y="414058"/>
                </a:lnTo>
                <a:lnTo>
                  <a:pt x="174625" y="408838"/>
                </a:lnTo>
                <a:lnTo>
                  <a:pt x="245237" y="479450"/>
                </a:lnTo>
                <a:lnTo>
                  <a:pt x="256286" y="468376"/>
                </a:lnTo>
                <a:close/>
              </a:path>
              <a:path w="648842" h="651624">
                <a:moveTo>
                  <a:pt x="316611" y="408025"/>
                </a:moveTo>
                <a:lnTo>
                  <a:pt x="225933" y="317398"/>
                </a:lnTo>
                <a:lnTo>
                  <a:pt x="218820" y="324548"/>
                </a:lnTo>
                <a:lnTo>
                  <a:pt x="220852" y="330377"/>
                </a:lnTo>
                <a:lnTo>
                  <a:pt x="221487" y="337680"/>
                </a:lnTo>
                <a:lnTo>
                  <a:pt x="221107" y="346468"/>
                </a:lnTo>
                <a:lnTo>
                  <a:pt x="220970" y="348426"/>
                </a:lnTo>
                <a:lnTo>
                  <a:pt x="219079" y="360759"/>
                </a:lnTo>
                <a:lnTo>
                  <a:pt x="215391" y="373303"/>
                </a:lnTo>
                <a:lnTo>
                  <a:pt x="226060" y="384022"/>
                </a:lnTo>
                <a:lnTo>
                  <a:pt x="228345" y="379298"/>
                </a:lnTo>
                <a:lnTo>
                  <a:pt x="230250" y="373494"/>
                </a:lnTo>
                <a:lnTo>
                  <a:pt x="232029" y="366623"/>
                </a:lnTo>
                <a:lnTo>
                  <a:pt x="233807" y="359752"/>
                </a:lnTo>
                <a:lnTo>
                  <a:pt x="234822" y="353707"/>
                </a:lnTo>
                <a:lnTo>
                  <a:pt x="234949" y="348488"/>
                </a:lnTo>
                <a:lnTo>
                  <a:pt x="305562" y="419112"/>
                </a:lnTo>
                <a:lnTo>
                  <a:pt x="316611" y="408025"/>
                </a:lnTo>
                <a:close/>
              </a:path>
              <a:path w="648842" h="651624">
                <a:moveTo>
                  <a:pt x="350138" y="377571"/>
                </a:moveTo>
                <a:lnTo>
                  <a:pt x="282956" y="258191"/>
                </a:lnTo>
                <a:lnTo>
                  <a:pt x="274065" y="266954"/>
                </a:lnTo>
                <a:lnTo>
                  <a:pt x="341248" y="386499"/>
                </a:lnTo>
                <a:lnTo>
                  <a:pt x="350138" y="377571"/>
                </a:lnTo>
                <a:close/>
              </a:path>
              <a:path w="648842" h="651624">
                <a:moveTo>
                  <a:pt x="438658" y="285877"/>
                </a:moveTo>
                <a:lnTo>
                  <a:pt x="428116" y="275209"/>
                </a:lnTo>
                <a:lnTo>
                  <a:pt x="383793" y="319532"/>
                </a:lnTo>
                <a:lnTo>
                  <a:pt x="383032" y="316293"/>
                </a:lnTo>
                <a:lnTo>
                  <a:pt x="382523" y="312724"/>
                </a:lnTo>
                <a:lnTo>
                  <a:pt x="382396" y="304977"/>
                </a:lnTo>
                <a:lnTo>
                  <a:pt x="382905" y="296926"/>
                </a:lnTo>
                <a:lnTo>
                  <a:pt x="383920" y="284734"/>
                </a:lnTo>
                <a:lnTo>
                  <a:pt x="384662" y="275060"/>
                </a:lnTo>
                <a:lnTo>
                  <a:pt x="385256" y="261725"/>
                </a:lnTo>
                <a:lnTo>
                  <a:pt x="385063" y="251714"/>
                </a:lnTo>
                <a:lnTo>
                  <a:pt x="384683" y="244475"/>
                </a:lnTo>
                <a:lnTo>
                  <a:pt x="383413" y="238252"/>
                </a:lnTo>
                <a:lnTo>
                  <a:pt x="381508" y="233299"/>
                </a:lnTo>
                <a:lnTo>
                  <a:pt x="379475" y="228346"/>
                </a:lnTo>
                <a:lnTo>
                  <a:pt x="376682" y="224028"/>
                </a:lnTo>
                <a:lnTo>
                  <a:pt x="372998" y="220472"/>
                </a:lnTo>
                <a:lnTo>
                  <a:pt x="360330" y="212174"/>
                </a:lnTo>
                <a:lnTo>
                  <a:pt x="347598" y="210185"/>
                </a:lnTo>
                <a:lnTo>
                  <a:pt x="342422" y="210711"/>
                </a:lnTo>
                <a:lnTo>
                  <a:pt x="330830" y="214984"/>
                </a:lnTo>
                <a:lnTo>
                  <a:pt x="319786" y="223520"/>
                </a:lnTo>
                <a:lnTo>
                  <a:pt x="315881" y="227843"/>
                </a:lnTo>
                <a:lnTo>
                  <a:pt x="308920" y="239033"/>
                </a:lnTo>
                <a:lnTo>
                  <a:pt x="306069" y="250698"/>
                </a:lnTo>
                <a:lnTo>
                  <a:pt x="306104" y="255618"/>
                </a:lnTo>
                <a:lnTo>
                  <a:pt x="309192" y="267395"/>
                </a:lnTo>
                <a:lnTo>
                  <a:pt x="316611" y="279019"/>
                </a:lnTo>
                <a:lnTo>
                  <a:pt x="329184" y="268732"/>
                </a:lnTo>
                <a:lnTo>
                  <a:pt x="323595" y="263017"/>
                </a:lnTo>
                <a:lnTo>
                  <a:pt x="320801" y="257048"/>
                </a:lnTo>
                <a:lnTo>
                  <a:pt x="320801" y="244221"/>
                </a:lnTo>
                <a:lnTo>
                  <a:pt x="323468" y="238252"/>
                </a:lnTo>
                <a:lnTo>
                  <a:pt x="328802" y="232918"/>
                </a:lnTo>
                <a:lnTo>
                  <a:pt x="333756" y="227965"/>
                </a:lnTo>
                <a:lnTo>
                  <a:pt x="339470" y="225298"/>
                </a:lnTo>
                <a:lnTo>
                  <a:pt x="345566" y="225171"/>
                </a:lnTo>
                <a:lnTo>
                  <a:pt x="351663" y="225044"/>
                </a:lnTo>
                <a:lnTo>
                  <a:pt x="356996" y="227203"/>
                </a:lnTo>
                <a:lnTo>
                  <a:pt x="361441" y="231648"/>
                </a:lnTo>
                <a:lnTo>
                  <a:pt x="365633" y="235839"/>
                </a:lnTo>
                <a:lnTo>
                  <a:pt x="368299" y="241935"/>
                </a:lnTo>
                <a:lnTo>
                  <a:pt x="369569" y="250063"/>
                </a:lnTo>
                <a:lnTo>
                  <a:pt x="369678" y="250803"/>
                </a:lnTo>
                <a:lnTo>
                  <a:pt x="370345" y="260571"/>
                </a:lnTo>
                <a:lnTo>
                  <a:pt x="370055" y="273345"/>
                </a:lnTo>
                <a:lnTo>
                  <a:pt x="368808" y="289179"/>
                </a:lnTo>
                <a:lnTo>
                  <a:pt x="368496" y="292491"/>
                </a:lnTo>
                <a:lnTo>
                  <a:pt x="367708" y="306156"/>
                </a:lnTo>
                <a:lnTo>
                  <a:pt x="367918" y="317284"/>
                </a:lnTo>
                <a:lnTo>
                  <a:pt x="368554" y="324573"/>
                </a:lnTo>
                <a:lnTo>
                  <a:pt x="370077" y="331000"/>
                </a:lnTo>
                <a:lnTo>
                  <a:pt x="372617" y="336588"/>
                </a:lnTo>
                <a:lnTo>
                  <a:pt x="374141" y="339991"/>
                </a:lnTo>
                <a:lnTo>
                  <a:pt x="376300" y="342988"/>
                </a:lnTo>
                <a:lnTo>
                  <a:pt x="379094" y="345579"/>
                </a:lnTo>
                <a:lnTo>
                  <a:pt x="438658" y="285877"/>
                </a:lnTo>
                <a:close/>
              </a:path>
              <a:path w="648842" h="651624">
                <a:moveTo>
                  <a:pt x="411939" y="212522"/>
                </a:moveTo>
                <a:lnTo>
                  <a:pt x="402198" y="201003"/>
                </a:lnTo>
                <a:lnTo>
                  <a:pt x="395779" y="190826"/>
                </a:lnTo>
                <a:lnTo>
                  <a:pt x="392684" y="181991"/>
                </a:lnTo>
                <a:lnTo>
                  <a:pt x="396098" y="218917"/>
                </a:lnTo>
                <a:lnTo>
                  <a:pt x="406018" y="229616"/>
                </a:lnTo>
                <a:lnTo>
                  <a:pt x="408480" y="232034"/>
                </a:lnTo>
                <a:lnTo>
                  <a:pt x="420132" y="242261"/>
                </a:lnTo>
                <a:lnTo>
                  <a:pt x="411939" y="212522"/>
                </a:lnTo>
                <a:close/>
              </a:path>
              <a:path w="648842" h="651624">
                <a:moveTo>
                  <a:pt x="470827" y="254091"/>
                </a:moveTo>
                <a:lnTo>
                  <a:pt x="481457" y="246253"/>
                </a:lnTo>
                <a:lnTo>
                  <a:pt x="488061" y="239649"/>
                </a:lnTo>
                <a:lnTo>
                  <a:pt x="491743" y="232410"/>
                </a:lnTo>
                <a:lnTo>
                  <a:pt x="492506" y="224536"/>
                </a:lnTo>
                <a:lnTo>
                  <a:pt x="492550" y="224121"/>
                </a:lnTo>
                <a:lnTo>
                  <a:pt x="491808" y="212156"/>
                </a:lnTo>
                <a:lnTo>
                  <a:pt x="487298" y="199644"/>
                </a:lnTo>
                <a:lnTo>
                  <a:pt x="482366" y="191400"/>
                </a:lnTo>
                <a:lnTo>
                  <a:pt x="474734" y="181410"/>
                </a:lnTo>
                <a:lnTo>
                  <a:pt x="464819" y="170688"/>
                </a:lnTo>
                <a:lnTo>
                  <a:pt x="460588" y="166558"/>
                </a:lnTo>
                <a:lnTo>
                  <a:pt x="450457" y="157661"/>
                </a:lnTo>
                <a:lnTo>
                  <a:pt x="441451" y="151384"/>
                </a:lnTo>
                <a:lnTo>
                  <a:pt x="434847" y="147574"/>
                </a:lnTo>
                <a:lnTo>
                  <a:pt x="428497" y="144907"/>
                </a:lnTo>
                <a:lnTo>
                  <a:pt x="422529" y="143637"/>
                </a:lnTo>
                <a:lnTo>
                  <a:pt x="416433" y="142367"/>
                </a:lnTo>
                <a:lnTo>
                  <a:pt x="410590" y="142494"/>
                </a:lnTo>
                <a:lnTo>
                  <a:pt x="405002" y="144272"/>
                </a:lnTo>
                <a:lnTo>
                  <a:pt x="399414" y="145923"/>
                </a:lnTo>
                <a:lnTo>
                  <a:pt x="394208" y="149225"/>
                </a:lnTo>
                <a:lnTo>
                  <a:pt x="389382" y="154051"/>
                </a:lnTo>
                <a:lnTo>
                  <a:pt x="382777" y="160655"/>
                </a:lnTo>
                <a:lnTo>
                  <a:pt x="379094" y="167894"/>
                </a:lnTo>
                <a:lnTo>
                  <a:pt x="378333" y="175641"/>
                </a:lnTo>
                <a:lnTo>
                  <a:pt x="378288" y="176055"/>
                </a:lnTo>
                <a:lnTo>
                  <a:pt x="379030" y="188020"/>
                </a:lnTo>
                <a:lnTo>
                  <a:pt x="383539" y="200533"/>
                </a:lnTo>
                <a:lnTo>
                  <a:pt x="388452" y="208914"/>
                </a:lnTo>
                <a:lnTo>
                  <a:pt x="396098" y="218917"/>
                </a:lnTo>
                <a:lnTo>
                  <a:pt x="392684" y="181991"/>
                </a:lnTo>
                <a:lnTo>
                  <a:pt x="391413" y="174625"/>
                </a:lnTo>
                <a:lnTo>
                  <a:pt x="393318" y="168402"/>
                </a:lnTo>
                <a:lnTo>
                  <a:pt x="398398" y="163322"/>
                </a:lnTo>
                <a:lnTo>
                  <a:pt x="403606" y="158242"/>
                </a:lnTo>
                <a:lnTo>
                  <a:pt x="410337" y="156337"/>
                </a:lnTo>
                <a:lnTo>
                  <a:pt x="418718" y="157734"/>
                </a:lnTo>
                <a:lnTo>
                  <a:pt x="430327" y="162686"/>
                </a:lnTo>
                <a:lnTo>
                  <a:pt x="441051" y="170598"/>
                </a:lnTo>
                <a:lnTo>
                  <a:pt x="453516" y="182118"/>
                </a:lnTo>
                <a:lnTo>
                  <a:pt x="457810" y="186522"/>
                </a:lnTo>
                <a:lnTo>
                  <a:pt x="468051" y="198361"/>
                </a:lnTo>
                <a:lnTo>
                  <a:pt x="474712" y="208506"/>
                </a:lnTo>
                <a:lnTo>
                  <a:pt x="477773" y="216916"/>
                </a:lnTo>
                <a:lnTo>
                  <a:pt x="479297" y="225298"/>
                </a:lnTo>
                <a:lnTo>
                  <a:pt x="477519" y="232029"/>
                </a:lnTo>
                <a:lnTo>
                  <a:pt x="472313" y="237109"/>
                </a:lnTo>
                <a:lnTo>
                  <a:pt x="467233" y="242189"/>
                </a:lnTo>
                <a:lnTo>
                  <a:pt x="460501" y="243967"/>
                </a:lnTo>
                <a:lnTo>
                  <a:pt x="452119" y="242570"/>
                </a:lnTo>
                <a:lnTo>
                  <a:pt x="449510" y="241939"/>
                </a:lnTo>
                <a:lnTo>
                  <a:pt x="440567" y="237647"/>
                </a:lnTo>
                <a:lnTo>
                  <a:pt x="429859" y="229729"/>
                </a:lnTo>
                <a:lnTo>
                  <a:pt x="417448" y="218186"/>
                </a:lnTo>
                <a:lnTo>
                  <a:pt x="411939" y="212522"/>
                </a:lnTo>
                <a:lnTo>
                  <a:pt x="420132" y="242261"/>
                </a:lnTo>
                <a:lnTo>
                  <a:pt x="431211" y="249902"/>
                </a:lnTo>
                <a:lnTo>
                  <a:pt x="441708" y="254958"/>
                </a:lnTo>
                <a:lnTo>
                  <a:pt x="451612" y="257429"/>
                </a:lnTo>
                <a:lnTo>
                  <a:pt x="459033" y="257512"/>
                </a:lnTo>
                <a:lnTo>
                  <a:pt x="470827" y="254091"/>
                </a:lnTo>
                <a:close/>
              </a:path>
              <a:path w="648842" h="651624">
                <a:moveTo>
                  <a:pt x="562356" y="162306"/>
                </a:moveTo>
                <a:lnTo>
                  <a:pt x="471677" y="71755"/>
                </a:lnTo>
                <a:lnTo>
                  <a:pt x="464565" y="78867"/>
                </a:lnTo>
                <a:lnTo>
                  <a:pt x="466470" y="84709"/>
                </a:lnTo>
                <a:lnTo>
                  <a:pt x="467233" y="91948"/>
                </a:lnTo>
                <a:lnTo>
                  <a:pt x="466724" y="100711"/>
                </a:lnTo>
                <a:lnTo>
                  <a:pt x="466586" y="102745"/>
                </a:lnTo>
                <a:lnTo>
                  <a:pt x="464761" y="115102"/>
                </a:lnTo>
                <a:lnTo>
                  <a:pt x="461137" y="127635"/>
                </a:lnTo>
                <a:lnTo>
                  <a:pt x="471805" y="138303"/>
                </a:lnTo>
                <a:lnTo>
                  <a:pt x="473963" y="133604"/>
                </a:lnTo>
                <a:lnTo>
                  <a:pt x="475995" y="127762"/>
                </a:lnTo>
                <a:lnTo>
                  <a:pt x="477773" y="120904"/>
                </a:lnTo>
                <a:lnTo>
                  <a:pt x="479551" y="114046"/>
                </a:lnTo>
                <a:lnTo>
                  <a:pt x="480440" y="107950"/>
                </a:lnTo>
                <a:lnTo>
                  <a:pt x="480567" y="102743"/>
                </a:lnTo>
                <a:lnTo>
                  <a:pt x="551180" y="173355"/>
                </a:lnTo>
                <a:lnTo>
                  <a:pt x="562356" y="162306"/>
                </a:lnTo>
                <a:close/>
              </a:path>
              <a:path w="648842" h="651624">
                <a:moveTo>
                  <a:pt x="648842" y="75819"/>
                </a:moveTo>
                <a:lnTo>
                  <a:pt x="638174" y="65151"/>
                </a:lnTo>
                <a:lnTo>
                  <a:pt x="593979" y="109347"/>
                </a:lnTo>
                <a:lnTo>
                  <a:pt x="593216" y="106172"/>
                </a:lnTo>
                <a:lnTo>
                  <a:pt x="592709" y="102616"/>
                </a:lnTo>
                <a:lnTo>
                  <a:pt x="592455" y="94869"/>
                </a:lnTo>
                <a:lnTo>
                  <a:pt x="592963" y="86741"/>
                </a:lnTo>
                <a:lnTo>
                  <a:pt x="594106" y="74549"/>
                </a:lnTo>
                <a:lnTo>
                  <a:pt x="594778" y="64905"/>
                </a:lnTo>
                <a:lnTo>
                  <a:pt x="595350" y="51601"/>
                </a:lnTo>
                <a:lnTo>
                  <a:pt x="595248" y="41529"/>
                </a:lnTo>
                <a:lnTo>
                  <a:pt x="594867" y="34290"/>
                </a:lnTo>
                <a:lnTo>
                  <a:pt x="593597" y="28194"/>
                </a:lnTo>
                <a:lnTo>
                  <a:pt x="591565" y="23241"/>
                </a:lnTo>
                <a:lnTo>
                  <a:pt x="589534" y="18288"/>
                </a:lnTo>
                <a:lnTo>
                  <a:pt x="586739" y="13970"/>
                </a:lnTo>
                <a:lnTo>
                  <a:pt x="583184" y="10287"/>
                </a:lnTo>
                <a:lnTo>
                  <a:pt x="570507" y="2099"/>
                </a:lnTo>
                <a:lnTo>
                  <a:pt x="557784" y="0"/>
                </a:lnTo>
                <a:lnTo>
                  <a:pt x="552555" y="534"/>
                </a:lnTo>
                <a:lnTo>
                  <a:pt x="540941" y="4836"/>
                </a:lnTo>
                <a:lnTo>
                  <a:pt x="529970" y="13462"/>
                </a:lnTo>
                <a:lnTo>
                  <a:pt x="525978" y="17782"/>
                </a:lnTo>
                <a:lnTo>
                  <a:pt x="518978" y="28958"/>
                </a:lnTo>
                <a:lnTo>
                  <a:pt x="516127" y="40640"/>
                </a:lnTo>
                <a:lnTo>
                  <a:pt x="516168" y="45498"/>
                </a:lnTo>
                <a:lnTo>
                  <a:pt x="519318" y="57231"/>
                </a:lnTo>
                <a:lnTo>
                  <a:pt x="526795" y="68834"/>
                </a:lnTo>
                <a:lnTo>
                  <a:pt x="539368" y="58547"/>
                </a:lnTo>
                <a:lnTo>
                  <a:pt x="533654" y="52959"/>
                </a:lnTo>
                <a:lnTo>
                  <a:pt x="530860" y="46863"/>
                </a:lnTo>
                <a:lnTo>
                  <a:pt x="530860" y="34036"/>
                </a:lnTo>
                <a:lnTo>
                  <a:pt x="533526" y="28194"/>
                </a:lnTo>
                <a:lnTo>
                  <a:pt x="538861" y="22860"/>
                </a:lnTo>
                <a:lnTo>
                  <a:pt x="543940" y="17780"/>
                </a:lnTo>
                <a:lnTo>
                  <a:pt x="549529" y="15240"/>
                </a:lnTo>
                <a:lnTo>
                  <a:pt x="555751" y="15113"/>
                </a:lnTo>
                <a:lnTo>
                  <a:pt x="561847" y="14986"/>
                </a:lnTo>
                <a:lnTo>
                  <a:pt x="567182" y="17145"/>
                </a:lnTo>
                <a:lnTo>
                  <a:pt x="571499" y="21463"/>
                </a:lnTo>
                <a:lnTo>
                  <a:pt x="575690" y="25654"/>
                </a:lnTo>
                <a:lnTo>
                  <a:pt x="578485" y="31877"/>
                </a:lnTo>
                <a:lnTo>
                  <a:pt x="579627" y="40005"/>
                </a:lnTo>
                <a:lnTo>
                  <a:pt x="579724" y="40655"/>
                </a:lnTo>
                <a:lnTo>
                  <a:pt x="580401" y="50348"/>
                </a:lnTo>
                <a:lnTo>
                  <a:pt x="580115" y="63118"/>
                </a:lnTo>
                <a:lnTo>
                  <a:pt x="578865" y="78994"/>
                </a:lnTo>
                <a:lnTo>
                  <a:pt x="578545" y="82409"/>
                </a:lnTo>
                <a:lnTo>
                  <a:pt x="577786" y="96029"/>
                </a:lnTo>
                <a:lnTo>
                  <a:pt x="578104" y="107188"/>
                </a:lnTo>
                <a:lnTo>
                  <a:pt x="578738" y="114427"/>
                </a:lnTo>
                <a:lnTo>
                  <a:pt x="580263" y="120904"/>
                </a:lnTo>
                <a:lnTo>
                  <a:pt x="582802" y="126492"/>
                </a:lnTo>
                <a:lnTo>
                  <a:pt x="584326" y="129794"/>
                </a:lnTo>
                <a:lnTo>
                  <a:pt x="586486" y="132842"/>
                </a:lnTo>
                <a:lnTo>
                  <a:pt x="589152" y="135382"/>
                </a:lnTo>
                <a:lnTo>
                  <a:pt x="648842" y="75819"/>
                </a:lnTo>
                <a:close/>
              </a:path>
              <a:path w="648842" h="651624">
                <a:moveTo>
                  <a:pt x="175387" y="552272"/>
                </a:moveTo>
                <a:lnTo>
                  <a:pt x="181990" y="545668"/>
                </a:lnTo>
                <a:lnTo>
                  <a:pt x="185800" y="538416"/>
                </a:lnTo>
                <a:lnTo>
                  <a:pt x="186562" y="530542"/>
                </a:lnTo>
                <a:lnTo>
                  <a:pt x="186594" y="530202"/>
                </a:lnTo>
                <a:lnTo>
                  <a:pt x="185762" y="518238"/>
                </a:lnTo>
                <a:lnTo>
                  <a:pt x="181228" y="505701"/>
                </a:lnTo>
                <a:lnTo>
                  <a:pt x="176398" y="497493"/>
                </a:lnTo>
                <a:lnTo>
                  <a:pt x="168758" y="487491"/>
                </a:lnTo>
                <a:lnTo>
                  <a:pt x="158876" y="476796"/>
                </a:lnTo>
                <a:lnTo>
                  <a:pt x="154594" y="472643"/>
                </a:lnTo>
                <a:lnTo>
                  <a:pt x="144421" y="463744"/>
                </a:lnTo>
                <a:lnTo>
                  <a:pt x="135508" y="457492"/>
                </a:lnTo>
                <a:lnTo>
                  <a:pt x="128777" y="453580"/>
                </a:lnTo>
                <a:lnTo>
                  <a:pt x="122427" y="450964"/>
                </a:lnTo>
                <a:lnTo>
                  <a:pt x="116458" y="449681"/>
                </a:lnTo>
                <a:lnTo>
                  <a:pt x="110362" y="448386"/>
                </a:lnTo>
                <a:lnTo>
                  <a:pt x="104520" y="448589"/>
                </a:lnTo>
                <a:lnTo>
                  <a:pt x="98932" y="450291"/>
                </a:lnTo>
                <a:lnTo>
                  <a:pt x="93344" y="451993"/>
                </a:lnTo>
                <a:lnTo>
                  <a:pt x="88137" y="455269"/>
                </a:lnTo>
                <a:lnTo>
                  <a:pt x="83312" y="460108"/>
                </a:lnTo>
                <a:lnTo>
                  <a:pt x="76707" y="466674"/>
                </a:lnTo>
                <a:lnTo>
                  <a:pt x="73025" y="473887"/>
                </a:lnTo>
                <a:lnTo>
                  <a:pt x="72262" y="481749"/>
                </a:lnTo>
                <a:lnTo>
                  <a:pt x="72223" y="482119"/>
                </a:lnTo>
                <a:lnTo>
                  <a:pt x="72955" y="494050"/>
                </a:lnTo>
                <a:lnTo>
                  <a:pt x="77469" y="506590"/>
                </a:lnTo>
                <a:lnTo>
                  <a:pt x="82374" y="514927"/>
                </a:lnTo>
                <a:lnTo>
                  <a:pt x="90023" y="524935"/>
                </a:lnTo>
                <a:lnTo>
                  <a:pt x="89709" y="496849"/>
                </a:lnTo>
                <a:lnTo>
                  <a:pt x="86613" y="488061"/>
                </a:lnTo>
                <a:lnTo>
                  <a:pt x="85343" y="480707"/>
                </a:lnTo>
                <a:lnTo>
                  <a:pt x="87249" y="474497"/>
                </a:lnTo>
                <a:lnTo>
                  <a:pt x="92328" y="469404"/>
                </a:lnTo>
                <a:lnTo>
                  <a:pt x="97536" y="464235"/>
                </a:lnTo>
                <a:lnTo>
                  <a:pt x="104266" y="462356"/>
                </a:lnTo>
                <a:lnTo>
                  <a:pt x="112649" y="463778"/>
                </a:lnTo>
                <a:lnTo>
                  <a:pt x="124264" y="468749"/>
                </a:lnTo>
                <a:lnTo>
                  <a:pt x="134985" y="476668"/>
                </a:lnTo>
                <a:lnTo>
                  <a:pt x="147446" y="488188"/>
                </a:lnTo>
                <a:lnTo>
                  <a:pt x="151767" y="492627"/>
                </a:lnTo>
                <a:lnTo>
                  <a:pt x="162001" y="504442"/>
                </a:lnTo>
                <a:lnTo>
                  <a:pt x="168689" y="514544"/>
                </a:lnTo>
                <a:lnTo>
                  <a:pt x="171830" y="522935"/>
                </a:lnTo>
                <a:lnTo>
                  <a:pt x="173227" y="531329"/>
                </a:lnTo>
                <a:lnTo>
                  <a:pt x="171450" y="538073"/>
                </a:lnTo>
                <a:lnTo>
                  <a:pt x="166369" y="543166"/>
                </a:lnTo>
                <a:lnTo>
                  <a:pt x="164790" y="560129"/>
                </a:lnTo>
                <a:lnTo>
                  <a:pt x="175387" y="552272"/>
                </a:lnTo>
                <a:close/>
              </a:path>
              <a:path w="648842" h="651624">
                <a:moveTo>
                  <a:pt x="132714" y="591972"/>
                </a:moveTo>
                <a:lnTo>
                  <a:pt x="122046" y="581317"/>
                </a:lnTo>
                <a:lnTo>
                  <a:pt x="77724" y="625576"/>
                </a:lnTo>
                <a:lnTo>
                  <a:pt x="76962" y="622338"/>
                </a:lnTo>
                <a:lnTo>
                  <a:pt x="76580" y="618782"/>
                </a:lnTo>
                <a:lnTo>
                  <a:pt x="76326" y="611022"/>
                </a:lnTo>
                <a:lnTo>
                  <a:pt x="76835" y="602970"/>
                </a:lnTo>
                <a:lnTo>
                  <a:pt x="77850" y="590740"/>
                </a:lnTo>
                <a:lnTo>
                  <a:pt x="78590" y="581147"/>
                </a:lnTo>
                <a:lnTo>
                  <a:pt x="79215" y="567813"/>
                </a:lnTo>
                <a:lnTo>
                  <a:pt x="79120" y="557771"/>
                </a:lnTo>
                <a:lnTo>
                  <a:pt x="78612" y="550481"/>
                </a:lnTo>
                <a:lnTo>
                  <a:pt x="77469" y="544360"/>
                </a:lnTo>
                <a:lnTo>
                  <a:pt x="75437" y="539394"/>
                </a:lnTo>
                <a:lnTo>
                  <a:pt x="73405" y="534428"/>
                </a:lnTo>
                <a:lnTo>
                  <a:pt x="70612" y="530136"/>
                </a:lnTo>
                <a:lnTo>
                  <a:pt x="66928" y="526529"/>
                </a:lnTo>
                <a:lnTo>
                  <a:pt x="54265" y="518242"/>
                </a:lnTo>
                <a:lnTo>
                  <a:pt x="41528" y="516242"/>
                </a:lnTo>
                <a:lnTo>
                  <a:pt x="36478" y="516749"/>
                </a:lnTo>
                <a:lnTo>
                  <a:pt x="24862" y="521021"/>
                </a:lnTo>
                <a:lnTo>
                  <a:pt x="13842" y="529602"/>
                </a:lnTo>
                <a:lnTo>
                  <a:pt x="9850" y="533944"/>
                </a:lnTo>
                <a:lnTo>
                  <a:pt x="2850" y="545112"/>
                </a:lnTo>
                <a:lnTo>
                  <a:pt x="0" y="556780"/>
                </a:lnTo>
                <a:lnTo>
                  <a:pt x="38" y="561638"/>
                </a:lnTo>
                <a:lnTo>
                  <a:pt x="3163" y="573393"/>
                </a:lnTo>
                <a:lnTo>
                  <a:pt x="10540" y="585012"/>
                </a:lnTo>
                <a:lnTo>
                  <a:pt x="23113" y="574789"/>
                </a:lnTo>
                <a:lnTo>
                  <a:pt x="17525" y="569087"/>
                </a:lnTo>
                <a:lnTo>
                  <a:pt x="14731" y="563029"/>
                </a:lnTo>
                <a:lnTo>
                  <a:pt x="14731" y="550227"/>
                </a:lnTo>
                <a:lnTo>
                  <a:pt x="17399" y="544360"/>
                </a:lnTo>
                <a:lnTo>
                  <a:pt x="22732" y="539026"/>
                </a:lnTo>
                <a:lnTo>
                  <a:pt x="27812" y="533971"/>
                </a:lnTo>
                <a:lnTo>
                  <a:pt x="33400" y="531393"/>
                </a:lnTo>
                <a:lnTo>
                  <a:pt x="39496" y="531266"/>
                </a:lnTo>
                <a:lnTo>
                  <a:pt x="45719" y="531139"/>
                </a:lnTo>
                <a:lnTo>
                  <a:pt x="50926" y="533273"/>
                </a:lnTo>
                <a:lnTo>
                  <a:pt x="55371" y="537667"/>
                </a:lnTo>
                <a:lnTo>
                  <a:pt x="59562" y="541858"/>
                </a:lnTo>
                <a:lnTo>
                  <a:pt x="62229" y="548017"/>
                </a:lnTo>
                <a:lnTo>
                  <a:pt x="63500" y="556171"/>
                </a:lnTo>
                <a:lnTo>
                  <a:pt x="64274" y="566542"/>
                </a:lnTo>
                <a:lnTo>
                  <a:pt x="63987" y="579324"/>
                </a:lnTo>
                <a:lnTo>
                  <a:pt x="62737" y="595172"/>
                </a:lnTo>
                <a:lnTo>
                  <a:pt x="62421" y="598552"/>
                </a:lnTo>
                <a:lnTo>
                  <a:pt x="61637" y="612218"/>
                </a:lnTo>
                <a:lnTo>
                  <a:pt x="61849" y="623328"/>
                </a:lnTo>
                <a:lnTo>
                  <a:pt x="62483" y="630618"/>
                </a:lnTo>
                <a:lnTo>
                  <a:pt x="64007" y="637057"/>
                </a:lnTo>
                <a:lnTo>
                  <a:pt x="66548" y="642632"/>
                </a:lnTo>
                <a:lnTo>
                  <a:pt x="68071" y="646036"/>
                </a:lnTo>
                <a:lnTo>
                  <a:pt x="70230" y="649033"/>
                </a:lnTo>
                <a:lnTo>
                  <a:pt x="73025" y="651624"/>
                </a:lnTo>
                <a:lnTo>
                  <a:pt x="132714" y="59197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0" name="object 200"/>
          <p:cNvSpPr/>
          <p:nvPr/>
        </p:nvSpPr>
        <p:spPr>
          <a:xfrm>
            <a:off x="6865112" y="3962041"/>
            <a:ext cx="644271" cy="493576"/>
          </a:xfrm>
          <a:custGeom>
            <a:avLst/>
            <a:gdLst/>
            <a:ahLst/>
            <a:cxnLst/>
            <a:rect l="l" t="t" r="r" b="b"/>
            <a:pathLst>
              <a:path w="644271" h="659015">
                <a:moveTo>
                  <a:pt x="572135" y="160019"/>
                </a:moveTo>
                <a:lnTo>
                  <a:pt x="481457" y="69341"/>
                </a:lnTo>
                <a:lnTo>
                  <a:pt x="474345" y="76580"/>
                </a:lnTo>
                <a:lnTo>
                  <a:pt x="476250" y="82422"/>
                </a:lnTo>
                <a:lnTo>
                  <a:pt x="477012" y="89661"/>
                </a:lnTo>
                <a:lnTo>
                  <a:pt x="476504" y="98424"/>
                </a:lnTo>
                <a:lnTo>
                  <a:pt x="476363" y="100434"/>
                </a:lnTo>
                <a:lnTo>
                  <a:pt x="474489" y="112773"/>
                </a:lnTo>
                <a:lnTo>
                  <a:pt x="470916" y="125348"/>
                </a:lnTo>
                <a:lnTo>
                  <a:pt x="481584" y="136016"/>
                </a:lnTo>
                <a:lnTo>
                  <a:pt x="483743" y="131317"/>
                </a:lnTo>
                <a:lnTo>
                  <a:pt x="485775" y="125475"/>
                </a:lnTo>
                <a:lnTo>
                  <a:pt x="487553" y="118617"/>
                </a:lnTo>
                <a:lnTo>
                  <a:pt x="489331" y="111759"/>
                </a:lnTo>
                <a:lnTo>
                  <a:pt x="490220" y="105663"/>
                </a:lnTo>
                <a:lnTo>
                  <a:pt x="490347" y="100456"/>
                </a:lnTo>
                <a:lnTo>
                  <a:pt x="560959" y="171068"/>
                </a:lnTo>
                <a:lnTo>
                  <a:pt x="572135" y="160019"/>
                </a:lnTo>
                <a:close/>
              </a:path>
              <a:path w="644271" h="659015">
                <a:moveTo>
                  <a:pt x="608132" y="116774"/>
                </a:moveTo>
                <a:lnTo>
                  <a:pt x="619996" y="112714"/>
                </a:lnTo>
                <a:lnTo>
                  <a:pt x="630682" y="104520"/>
                </a:lnTo>
                <a:lnTo>
                  <a:pt x="636076" y="98325"/>
                </a:lnTo>
                <a:lnTo>
                  <a:pt x="642089" y="86970"/>
                </a:lnTo>
                <a:lnTo>
                  <a:pt x="644271" y="74548"/>
                </a:lnTo>
                <a:lnTo>
                  <a:pt x="644002" y="68571"/>
                </a:lnTo>
                <a:lnTo>
                  <a:pt x="640456" y="56370"/>
                </a:lnTo>
                <a:lnTo>
                  <a:pt x="632841" y="45846"/>
                </a:lnTo>
                <a:lnTo>
                  <a:pt x="626999" y="40004"/>
                </a:lnTo>
                <a:lnTo>
                  <a:pt x="620776" y="36702"/>
                </a:lnTo>
                <a:lnTo>
                  <a:pt x="613918" y="35813"/>
                </a:lnTo>
                <a:lnTo>
                  <a:pt x="607060" y="34797"/>
                </a:lnTo>
                <a:lnTo>
                  <a:pt x="600329" y="36448"/>
                </a:lnTo>
                <a:lnTo>
                  <a:pt x="593852" y="40512"/>
                </a:lnTo>
                <a:lnTo>
                  <a:pt x="596011" y="34543"/>
                </a:lnTo>
                <a:lnTo>
                  <a:pt x="596519" y="28955"/>
                </a:lnTo>
                <a:lnTo>
                  <a:pt x="595503" y="23621"/>
                </a:lnTo>
                <a:lnTo>
                  <a:pt x="594360" y="18287"/>
                </a:lnTo>
                <a:lnTo>
                  <a:pt x="591820" y="13715"/>
                </a:lnTo>
                <a:lnTo>
                  <a:pt x="587883" y="9778"/>
                </a:lnTo>
                <a:lnTo>
                  <a:pt x="583819" y="5714"/>
                </a:lnTo>
                <a:lnTo>
                  <a:pt x="578866" y="2920"/>
                </a:lnTo>
                <a:lnTo>
                  <a:pt x="573024" y="1523"/>
                </a:lnTo>
                <a:lnTo>
                  <a:pt x="567182" y="0"/>
                </a:lnTo>
                <a:lnTo>
                  <a:pt x="561086" y="253"/>
                </a:lnTo>
                <a:lnTo>
                  <a:pt x="554863" y="2285"/>
                </a:lnTo>
                <a:lnTo>
                  <a:pt x="548640" y="4317"/>
                </a:lnTo>
                <a:lnTo>
                  <a:pt x="543052" y="7873"/>
                </a:lnTo>
                <a:lnTo>
                  <a:pt x="538099" y="12826"/>
                </a:lnTo>
                <a:lnTo>
                  <a:pt x="529519" y="24769"/>
                </a:lnTo>
                <a:lnTo>
                  <a:pt x="526288" y="36829"/>
                </a:lnTo>
                <a:lnTo>
                  <a:pt x="526162" y="39474"/>
                </a:lnTo>
                <a:lnTo>
                  <a:pt x="528139" y="51416"/>
                </a:lnTo>
                <a:lnTo>
                  <a:pt x="534289" y="63372"/>
                </a:lnTo>
                <a:lnTo>
                  <a:pt x="547370" y="54228"/>
                </a:lnTo>
                <a:lnTo>
                  <a:pt x="542798" y="48005"/>
                </a:lnTo>
                <a:lnTo>
                  <a:pt x="540512" y="42036"/>
                </a:lnTo>
                <a:lnTo>
                  <a:pt x="540766" y="36448"/>
                </a:lnTo>
                <a:lnTo>
                  <a:pt x="540893" y="30860"/>
                </a:lnTo>
                <a:lnTo>
                  <a:pt x="543179" y="25907"/>
                </a:lnTo>
                <a:lnTo>
                  <a:pt x="547370" y="21589"/>
                </a:lnTo>
                <a:lnTo>
                  <a:pt x="551815" y="17271"/>
                </a:lnTo>
                <a:lnTo>
                  <a:pt x="556641" y="15112"/>
                </a:lnTo>
                <a:lnTo>
                  <a:pt x="562102" y="14985"/>
                </a:lnTo>
                <a:lnTo>
                  <a:pt x="567563" y="14858"/>
                </a:lnTo>
                <a:lnTo>
                  <a:pt x="572262" y="16890"/>
                </a:lnTo>
                <a:lnTo>
                  <a:pt x="576326" y="20954"/>
                </a:lnTo>
                <a:lnTo>
                  <a:pt x="581406" y="26034"/>
                </a:lnTo>
                <a:lnTo>
                  <a:pt x="583311" y="31749"/>
                </a:lnTo>
                <a:lnTo>
                  <a:pt x="582041" y="37972"/>
                </a:lnTo>
                <a:lnTo>
                  <a:pt x="580771" y="44195"/>
                </a:lnTo>
                <a:lnTo>
                  <a:pt x="577723" y="49783"/>
                </a:lnTo>
                <a:lnTo>
                  <a:pt x="573024" y="54482"/>
                </a:lnTo>
                <a:lnTo>
                  <a:pt x="571119" y="56133"/>
                </a:lnTo>
                <a:lnTo>
                  <a:pt x="579628" y="67055"/>
                </a:lnTo>
                <a:lnTo>
                  <a:pt x="581914" y="63118"/>
                </a:lnTo>
                <a:lnTo>
                  <a:pt x="584073" y="60070"/>
                </a:lnTo>
                <a:lnTo>
                  <a:pt x="586105" y="58038"/>
                </a:lnTo>
                <a:lnTo>
                  <a:pt x="591312" y="52831"/>
                </a:lnTo>
                <a:lnTo>
                  <a:pt x="597154" y="50291"/>
                </a:lnTo>
                <a:lnTo>
                  <a:pt x="610362" y="50291"/>
                </a:lnTo>
                <a:lnTo>
                  <a:pt x="616331" y="52831"/>
                </a:lnTo>
                <a:lnTo>
                  <a:pt x="621411" y="57911"/>
                </a:lnTo>
                <a:lnTo>
                  <a:pt x="626745" y="63245"/>
                </a:lnTo>
                <a:lnTo>
                  <a:pt x="629412" y="69468"/>
                </a:lnTo>
                <a:lnTo>
                  <a:pt x="629412" y="83946"/>
                </a:lnTo>
                <a:lnTo>
                  <a:pt x="626872" y="90169"/>
                </a:lnTo>
                <a:lnTo>
                  <a:pt x="621665" y="95376"/>
                </a:lnTo>
                <a:lnTo>
                  <a:pt x="617220" y="99694"/>
                </a:lnTo>
                <a:lnTo>
                  <a:pt x="612140" y="102107"/>
                </a:lnTo>
                <a:lnTo>
                  <a:pt x="606298" y="102361"/>
                </a:lnTo>
                <a:lnTo>
                  <a:pt x="600456" y="102615"/>
                </a:lnTo>
                <a:lnTo>
                  <a:pt x="593725" y="100329"/>
                </a:lnTo>
                <a:lnTo>
                  <a:pt x="586232" y="95249"/>
                </a:lnTo>
                <a:lnTo>
                  <a:pt x="576580" y="107822"/>
                </a:lnTo>
                <a:lnTo>
                  <a:pt x="579865" y="110282"/>
                </a:lnTo>
                <a:lnTo>
                  <a:pt x="591412" y="115807"/>
                </a:lnTo>
                <a:lnTo>
                  <a:pt x="603885" y="117220"/>
                </a:lnTo>
                <a:lnTo>
                  <a:pt x="608132" y="116774"/>
                </a:lnTo>
                <a:close/>
              </a:path>
              <a:path w="644271" h="659015">
                <a:moveTo>
                  <a:pt x="132715" y="599351"/>
                </a:moveTo>
                <a:lnTo>
                  <a:pt x="122047" y="588708"/>
                </a:lnTo>
                <a:lnTo>
                  <a:pt x="77851" y="632967"/>
                </a:lnTo>
                <a:lnTo>
                  <a:pt x="77089" y="629729"/>
                </a:lnTo>
                <a:lnTo>
                  <a:pt x="76581" y="626173"/>
                </a:lnTo>
                <a:lnTo>
                  <a:pt x="76454" y="618413"/>
                </a:lnTo>
                <a:lnTo>
                  <a:pt x="76835" y="610361"/>
                </a:lnTo>
                <a:lnTo>
                  <a:pt x="77978" y="598131"/>
                </a:lnTo>
                <a:lnTo>
                  <a:pt x="78664" y="588531"/>
                </a:lnTo>
                <a:lnTo>
                  <a:pt x="79278" y="575202"/>
                </a:lnTo>
                <a:lnTo>
                  <a:pt x="79121" y="565162"/>
                </a:lnTo>
                <a:lnTo>
                  <a:pt x="78740" y="557872"/>
                </a:lnTo>
                <a:lnTo>
                  <a:pt x="77470" y="551751"/>
                </a:lnTo>
                <a:lnTo>
                  <a:pt x="75438" y="546785"/>
                </a:lnTo>
                <a:lnTo>
                  <a:pt x="73406" y="541820"/>
                </a:lnTo>
                <a:lnTo>
                  <a:pt x="70612" y="537527"/>
                </a:lnTo>
                <a:lnTo>
                  <a:pt x="67056" y="533920"/>
                </a:lnTo>
                <a:lnTo>
                  <a:pt x="54340" y="525629"/>
                </a:lnTo>
                <a:lnTo>
                  <a:pt x="41656" y="523633"/>
                </a:lnTo>
                <a:lnTo>
                  <a:pt x="36461" y="524157"/>
                </a:lnTo>
                <a:lnTo>
                  <a:pt x="24829" y="528436"/>
                </a:lnTo>
                <a:lnTo>
                  <a:pt x="13843" y="536994"/>
                </a:lnTo>
                <a:lnTo>
                  <a:pt x="9895" y="541336"/>
                </a:lnTo>
                <a:lnTo>
                  <a:pt x="2888" y="552504"/>
                </a:lnTo>
                <a:lnTo>
                  <a:pt x="0" y="564172"/>
                </a:lnTo>
                <a:lnTo>
                  <a:pt x="42" y="569063"/>
                </a:lnTo>
                <a:lnTo>
                  <a:pt x="3197" y="580799"/>
                </a:lnTo>
                <a:lnTo>
                  <a:pt x="10668" y="592404"/>
                </a:lnTo>
                <a:lnTo>
                  <a:pt x="23241" y="582180"/>
                </a:lnTo>
                <a:lnTo>
                  <a:pt x="17526" y="576478"/>
                </a:lnTo>
                <a:lnTo>
                  <a:pt x="14732" y="570420"/>
                </a:lnTo>
                <a:lnTo>
                  <a:pt x="14732" y="557618"/>
                </a:lnTo>
                <a:lnTo>
                  <a:pt x="17399" y="551751"/>
                </a:lnTo>
                <a:lnTo>
                  <a:pt x="22733" y="546417"/>
                </a:lnTo>
                <a:lnTo>
                  <a:pt x="27813" y="541362"/>
                </a:lnTo>
                <a:lnTo>
                  <a:pt x="33401" y="538772"/>
                </a:lnTo>
                <a:lnTo>
                  <a:pt x="45720" y="538530"/>
                </a:lnTo>
                <a:lnTo>
                  <a:pt x="51054" y="540664"/>
                </a:lnTo>
                <a:lnTo>
                  <a:pt x="55372" y="545058"/>
                </a:lnTo>
                <a:lnTo>
                  <a:pt x="59563" y="549249"/>
                </a:lnTo>
                <a:lnTo>
                  <a:pt x="62357" y="555409"/>
                </a:lnTo>
                <a:lnTo>
                  <a:pt x="63627" y="563562"/>
                </a:lnTo>
                <a:lnTo>
                  <a:pt x="63714" y="564215"/>
                </a:lnTo>
                <a:lnTo>
                  <a:pt x="64308" y="573928"/>
                </a:lnTo>
                <a:lnTo>
                  <a:pt x="63991" y="586711"/>
                </a:lnTo>
                <a:lnTo>
                  <a:pt x="62738" y="602564"/>
                </a:lnTo>
                <a:lnTo>
                  <a:pt x="62421" y="605953"/>
                </a:lnTo>
                <a:lnTo>
                  <a:pt x="61658" y="619614"/>
                </a:lnTo>
                <a:lnTo>
                  <a:pt x="61976" y="630720"/>
                </a:lnTo>
                <a:lnTo>
                  <a:pt x="62611" y="638009"/>
                </a:lnTo>
                <a:lnTo>
                  <a:pt x="64135" y="644448"/>
                </a:lnTo>
                <a:lnTo>
                  <a:pt x="66675" y="650024"/>
                </a:lnTo>
                <a:lnTo>
                  <a:pt x="68199" y="653427"/>
                </a:lnTo>
                <a:lnTo>
                  <a:pt x="70358" y="656424"/>
                </a:lnTo>
                <a:lnTo>
                  <a:pt x="73025" y="659015"/>
                </a:lnTo>
                <a:lnTo>
                  <a:pt x="132715" y="599351"/>
                </a:lnTo>
                <a:close/>
              </a:path>
              <a:path w="644271" h="659015">
                <a:moveTo>
                  <a:pt x="105912" y="525957"/>
                </a:moveTo>
                <a:lnTo>
                  <a:pt x="96220" y="514405"/>
                </a:lnTo>
                <a:lnTo>
                  <a:pt x="89788" y="504235"/>
                </a:lnTo>
                <a:lnTo>
                  <a:pt x="86614" y="495452"/>
                </a:lnTo>
                <a:lnTo>
                  <a:pt x="90150" y="532326"/>
                </a:lnTo>
                <a:lnTo>
                  <a:pt x="100076" y="543039"/>
                </a:lnTo>
                <a:lnTo>
                  <a:pt x="102513" y="545443"/>
                </a:lnTo>
                <a:lnTo>
                  <a:pt x="114172" y="555704"/>
                </a:lnTo>
                <a:lnTo>
                  <a:pt x="105912" y="525957"/>
                </a:lnTo>
                <a:close/>
              </a:path>
              <a:path w="644271" h="659015">
                <a:moveTo>
                  <a:pt x="164823" y="567519"/>
                </a:moveTo>
                <a:lnTo>
                  <a:pt x="175514" y="559663"/>
                </a:lnTo>
                <a:lnTo>
                  <a:pt x="182118" y="553059"/>
                </a:lnTo>
                <a:lnTo>
                  <a:pt x="185801" y="545807"/>
                </a:lnTo>
                <a:lnTo>
                  <a:pt x="186563" y="537933"/>
                </a:lnTo>
                <a:lnTo>
                  <a:pt x="186594" y="537593"/>
                </a:lnTo>
                <a:lnTo>
                  <a:pt x="185762" y="525629"/>
                </a:lnTo>
                <a:lnTo>
                  <a:pt x="181229" y="513092"/>
                </a:lnTo>
                <a:lnTo>
                  <a:pt x="176398" y="504885"/>
                </a:lnTo>
                <a:lnTo>
                  <a:pt x="168758" y="494882"/>
                </a:lnTo>
                <a:lnTo>
                  <a:pt x="158877" y="484187"/>
                </a:lnTo>
                <a:lnTo>
                  <a:pt x="154637" y="480035"/>
                </a:lnTo>
                <a:lnTo>
                  <a:pt x="144460" y="471135"/>
                </a:lnTo>
                <a:lnTo>
                  <a:pt x="135509" y="464883"/>
                </a:lnTo>
                <a:lnTo>
                  <a:pt x="128905" y="460959"/>
                </a:lnTo>
                <a:lnTo>
                  <a:pt x="122555" y="458355"/>
                </a:lnTo>
                <a:lnTo>
                  <a:pt x="116459" y="457060"/>
                </a:lnTo>
                <a:lnTo>
                  <a:pt x="110490" y="455777"/>
                </a:lnTo>
                <a:lnTo>
                  <a:pt x="104648" y="455980"/>
                </a:lnTo>
                <a:lnTo>
                  <a:pt x="99060" y="457682"/>
                </a:lnTo>
                <a:lnTo>
                  <a:pt x="93472" y="459384"/>
                </a:lnTo>
                <a:lnTo>
                  <a:pt x="88138" y="462660"/>
                </a:lnTo>
                <a:lnTo>
                  <a:pt x="83312" y="467499"/>
                </a:lnTo>
                <a:lnTo>
                  <a:pt x="76835" y="474065"/>
                </a:lnTo>
                <a:lnTo>
                  <a:pt x="73152" y="481279"/>
                </a:lnTo>
                <a:lnTo>
                  <a:pt x="72263" y="489140"/>
                </a:lnTo>
                <a:lnTo>
                  <a:pt x="72231" y="489479"/>
                </a:lnTo>
                <a:lnTo>
                  <a:pt x="73063" y="501425"/>
                </a:lnTo>
                <a:lnTo>
                  <a:pt x="77597" y="513981"/>
                </a:lnTo>
                <a:lnTo>
                  <a:pt x="82501" y="522318"/>
                </a:lnTo>
                <a:lnTo>
                  <a:pt x="90150" y="532326"/>
                </a:lnTo>
                <a:lnTo>
                  <a:pt x="86614" y="495452"/>
                </a:lnTo>
                <a:lnTo>
                  <a:pt x="85344" y="488099"/>
                </a:lnTo>
                <a:lnTo>
                  <a:pt x="87249" y="481888"/>
                </a:lnTo>
                <a:lnTo>
                  <a:pt x="92456" y="476796"/>
                </a:lnTo>
                <a:lnTo>
                  <a:pt x="97536" y="471627"/>
                </a:lnTo>
                <a:lnTo>
                  <a:pt x="104267" y="469747"/>
                </a:lnTo>
                <a:lnTo>
                  <a:pt x="112649" y="471169"/>
                </a:lnTo>
                <a:lnTo>
                  <a:pt x="115357" y="471825"/>
                </a:lnTo>
                <a:lnTo>
                  <a:pt x="124319" y="476141"/>
                </a:lnTo>
                <a:lnTo>
                  <a:pt x="135009" y="484060"/>
                </a:lnTo>
                <a:lnTo>
                  <a:pt x="147447" y="495579"/>
                </a:lnTo>
                <a:lnTo>
                  <a:pt x="151802" y="500019"/>
                </a:lnTo>
                <a:lnTo>
                  <a:pt x="162093" y="511833"/>
                </a:lnTo>
                <a:lnTo>
                  <a:pt x="168769" y="521936"/>
                </a:lnTo>
                <a:lnTo>
                  <a:pt x="171831" y="530326"/>
                </a:lnTo>
                <a:lnTo>
                  <a:pt x="173355" y="538721"/>
                </a:lnTo>
                <a:lnTo>
                  <a:pt x="171450" y="545464"/>
                </a:lnTo>
                <a:lnTo>
                  <a:pt x="166370" y="550544"/>
                </a:lnTo>
                <a:lnTo>
                  <a:pt x="161290" y="555637"/>
                </a:lnTo>
                <a:lnTo>
                  <a:pt x="154559" y="557466"/>
                </a:lnTo>
                <a:lnTo>
                  <a:pt x="146177" y="556031"/>
                </a:lnTo>
                <a:lnTo>
                  <a:pt x="143476" y="555372"/>
                </a:lnTo>
                <a:lnTo>
                  <a:pt x="134513" y="551051"/>
                </a:lnTo>
                <a:lnTo>
                  <a:pt x="123820" y="543143"/>
                </a:lnTo>
                <a:lnTo>
                  <a:pt x="111379" y="531647"/>
                </a:lnTo>
                <a:lnTo>
                  <a:pt x="105912" y="525957"/>
                </a:lnTo>
                <a:lnTo>
                  <a:pt x="114172" y="555704"/>
                </a:lnTo>
                <a:lnTo>
                  <a:pt x="125258" y="563349"/>
                </a:lnTo>
                <a:lnTo>
                  <a:pt x="135760" y="568381"/>
                </a:lnTo>
                <a:lnTo>
                  <a:pt x="145669" y="570801"/>
                </a:lnTo>
                <a:lnTo>
                  <a:pt x="153063" y="570898"/>
                </a:lnTo>
                <a:lnTo>
                  <a:pt x="164823" y="567519"/>
                </a:lnTo>
                <a:close/>
              </a:path>
              <a:path w="644271" h="659015">
                <a:moveTo>
                  <a:pt x="256286" y="475767"/>
                </a:moveTo>
                <a:lnTo>
                  <a:pt x="165735" y="385140"/>
                </a:lnTo>
                <a:lnTo>
                  <a:pt x="158623" y="392277"/>
                </a:lnTo>
                <a:lnTo>
                  <a:pt x="160528" y="398106"/>
                </a:lnTo>
                <a:lnTo>
                  <a:pt x="161290" y="405422"/>
                </a:lnTo>
                <a:lnTo>
                  <a:pt x="160782" y="414197"/>
                </a:lnTo>
                <a:lnTo>
                  <a:pt x="160644" y="416168"/>
                </a:lnTo>
                <a:lnTo>
                  <a:pt x="158753" y="428500"/>
                </a:lnTo>
                <a:lnTo>
                  <a:pt x="155067" y="441045"/>
                </a:lnTo>
                <a:lnTo>
                  <a:pt x="165862" y="451751"/>
                </a:lnTo>
                <a:lnTo>
                  <a:pt x="168021" y="447039"/>
                </a:lnTo>
                <a:lnTo>
                  <a:pt x="169926" y="441236"/>
                </a:lnTo>
                <a:lnTo>
                  <a:pt x="171831" y="434365"/>
                </a:lnTo>
                <a:lnTo>
                  <a:pt x="173609" y="427481"/>
                </a:lnTo>
                <a:lnTo>
                  <a:pt x="174498" y="421449"/>
                </a:lnTo>
                <a:lnTo>
                  <a:pt x="174625" y="416229"/>
                </a:lnTo>
                <a:lnTo>
                  <a:pt x="245237" y="486841"/>
                </a:lnTo>
                <a:lnTo>
                  <a:pt x="256286" y="475767"/>
                </a:lnTo>
                <a:close/>
              </a:path>
              <a:path w="644271" h="659015">
                <a:moveTo>
                  <a:pt x="342900" y="389216"/>
                </a:moveTo>
                <a:lnTo>
                  <a:pt x="332232" y="378574"/>
                </a:lnTo>
                <a:lnTo>
                  <a:pt x="287909" y="422833"/>
                </a:lnTo>
                <a:lnTo>
                  <a:pt x="287147" y="419595"/>
                </a:lnTo>
                <a:lnTo>
                  <a:pt x="286766" y="416026"/>
                </a:lnTo>
                <a:lnTo>
                  <a:pt x="286512" y="408266"/>
                </a:lnTo>
                <a:lnTo>
                  <a:pt x="287020" y="400215"/>
                </a:lnTo>
                <a:lnTo>
                  <a:pt x="288036" y="387984"/>
                </a:lnTo>
                <a:lnTo>
                  <a:pt x="288775" y="378393"/>
                </a:lnTo>
                <a:lnTo>
                  <a:pt x="289400" y="365063"/>
                </a:lnTo>
                <a:lnTo>
                  <a:pt x="289306" y="355015"/>
                </a:lnTo>
                <a:lnTo>
                  <a:pt x="288798" y="347738"/>
                </a:lnTo>
                <a:lnTo>
                  <a:pt x="287655" y="341604"/>
                </a:lnTo>
                <a:lnTo>
                  <a:pt x="285623" y="336638"/>
                </a:lnTo>
                <a:lnTo>
                  <a:pt x="283591" y="331673"/>
                </a:lnTo>
                <a:lnTo>
                  <a:pt x="280797" y="327393"/>
                </a:lnTo>
                <a:lnTo>
                  <a:pt x="277241" y="323773"/>
                </a:lnTo>
                <a:lnTo>
                  <a:pt x="275432" y="322074"/>
                </a:lnTo>
                <a:lnTo>
                  <a:pt x="264453" y="315469"/>
                </a:lnTo>
                <a:lnTo>
                  <a:pt x="251714" y="313499"/>
                </a:lnTo>
                <a:lnTo>
                  <a:pt x="246663" y="314007"/>
                </a:lnTo>
                <a:lnTo>
                  <a:pt x="235047" y="318278"/>
                </a:lnTo>
                <a:lnTo>
                  <a:pt x="224028" y="326859"/>
                </a:lnTo>
                <a:lnTo>
                  <a:pt x="220035" y="331201"/>
                </a:lnTo>
                <a:lnTo>
                  <a:pt x="213035" y="342364"/>
                </a:lnTo>
                <a:lnTo>
                  <a:pt x="210185" y="354037"/>
                </a:lnTo>
                <a:lnTo>
                  <a:pt x="210226" y="358920"/>
                </a:lnTo>
                <a:lnTo>
                  <a:pt x="213380" y="370658"/>
                </a:lnTo>
                <a:lnTo>
                  <a:pt x="220853" y="382257"/>
                </a:lnTo>
                <a:lnTo>
                  <a:pt x="233299" y="372046"/>
                </a:lnTo>
                <a:lnTo>
                  <a:pt x="227711" y="366331"/>
                </a:lnTo>
                <a:lnTo>
                  <a:pt x="224917" y="360286"/>
                </a:lnTo>
                <a:lnTo>
                  <a:pt x="224917" y="347484"/>
                </a:lnTo>
                <a:lnTo>
                  <a:pt x="227584" y="341604"/>
                </a:lnTo>
                <a:lnTo>
                  <a:pt x="232918" y="336270"/>
                </a:lnTo>
                <a:lnTo>
                  <a:pt x="237998" y="331228"/>
                </a:lnTo>
                <a:lnTo>
                  <a:pt x="243586" y="328637"/>
                </a:lnTo>
                <a:lnTo>
                  <a:pt x="249682" y="328510"/>
                </a:lnTo>
                <a:lnTo>
                  <a:pt x="255905" y="328396"/>
                </a:lnTo>
                <a:lnTo>
                  <a:pt x="261112" y="330530"/>
                </a:lnTo>
                <a:lnTo>
                  <a:pt x="265557" y="334924"/>
                </a:lnTo>
                <a:lnTo>
                  <a:pt x="269748" y="339102"/>
                </a:lnTo>
                <a:lnTo>
                  <a:pt x="272415" y="345274"/>
                </a:lnTo>
                <a:lnTo>
                  <a:pt x="273685" y="353415"/>
                </a:lnTo>
                <a:lnTo>
                  <a:pt x="274459" y="363792"/>
                </a:lnTo>
                <a:lnTo>
                  <a:pt x="274172" y="376571"/>
                </a:lnTo>
                <a:lnTo>
                  <a:pt x="272923" y="392417"/>
                </a:lnTo>
                <a:lnTo>
                  <a:pt x="272604" y="395822"/>
                </a:lnTo>
                <a:lnTo>
                  <a:pt x="271843" y="409479"/>
                </a:lnTo>
                <a:lnTo>
                  <a:pt x="272161" y="420585"/>
                </a:lnTo>
                <a:lnTo>
                  <a:pt x="272669" y="427875"/>
                </a:lnTo>
                <a:lnTo>
                  <a:pt x="274320" y="434301"/>
                </a:lnTo>
                <a:lnTo>
                  <a:pt x="276860" y="439889"/>
                </a:lnTo>
                <a:lnTo>
                  <a:pt x="278384" y="443293"/>
                </a:lnTo>
                <a:lnTo>
                  <a:pt x="280416" y="446290"/>
                </a:lnTo>
                <a:lnTo>
                  <a:pt x="283210" y="448868"/>
                </a:lnTo>
                <a:lnTo>
                  <a:pt x="342900" y="389216"/>
                </a:lnTo>
                <a:close/>
              </a:path>
              <a:path w="644271" h="659015">
                <a:moveTo>
                  <a:pt x="359918" y="375259"/>
                </a:moveTo>
                <a:lnTo>
                  <a:pt x="292735" y="255777"/>
                </a:lnTo>
                <a:lnTo>
                  <a:pt x="283845" y="264667"/>
                </a:lnTo>
                <a:lnTo>
                  <a:pt x="351028" y="384187"/>
                </a:lnTo>
                <a:lnTo>
                  <a:pt x="359918" y="375259"/>
                </a:lnTo>
                <a:close/>
              </a:path>
              <a:path w="644271" h="659015">
                <a:moveTo>
                  <a:pt x="448437" y="283590"/>
                </a:moveTo>
                <a:lnTo>
                  <a:pt x="437769" y="272922"/>
                </a:lnTo>
                <a:lnTo>
                  <a:pt x="393573" y="317220"/>
                </a:lnTo>
                <a:lnTo>
                  <a:pt x="392811" y="313982"/>
                </a:lnTo>
                <a:lnTo>
                  <a:pt x="392303" y="310426"/>
                </a:lnTo>
                <a:lnTo>
                  <a:pt x="392176" y="302666"/>
                </a:lnTo>
                <a:lnTo>
                  <a:pt x="392557" y="294639"/>
                </a:lnTo>
                <a:lnTo>
                  <a:pt x="393700" y="282320"/>
                </a:lnTo>
                <a:lnTo>
                  <a:pt x="394433" y="272832"/>
                </a:lnTo>
                <a:lnTo>
                  <a:pt x="395034" y="259477"/>
                </a:lnTo>
                <a:lnTo>
                  <a:pt x="394843" y="249427"/>
                </a:lnTo>
                <a:lnTo>
                  <a:pt x="394462" y="242188"/>
                </a:lnTo>
                <a:lnTo>
                  <a:pt x="393192" y="235965"/>
                </a:lnTo>
                <a:lnTo>
                  <a:pt x="391287" y="231012"/>
                </a:lnTo>
                <a:lnTo>
                  <a:pt x="389255" y="226059"/>
                </a:lnTo>
                <a:lnTo>
                  <a:pt x="386461" y="221741"/>
                </a:lnTo>
                <a:lnTo>
                  <a:pt x="382778" y="218185"/>
                </a:lnTo>
                <a:lnTo>
                  <a:pt x="370058" y="209888"/>
                </a:lnTo>
                <a:lnTo>
                  <a:pt x="357378" y="207898"/>
                </a:lnTo>
                <a:lnTo>
                  <a:pt x="352191" y="208425"/>
                </a:lnTo>
                <a:lnTo>
                  <a:pt x="340555" y="212698"/>
                </a:lnTo>
                <a:lnTo>
                  <a:pt x="329565" y="221233"/>
                </a:lnTo>
                <a:lnTo>
                  <a:pt x="325617" y="225598"/>
                </a:lnTo>
                <a:lnTo>
                  <a:pt x="318610" y="236768"/>
                </a:lnTo>
                <a:lnTo>
                  <a:pt x="315722" y="248411"/>
                </a:lnTo>
                <a:lnTo>
                  <a:pt x="315762" y="253270"/>
                </a:lnTo>
                <a:lnTo>
                  <a:pt x="318912" y="265003"/>
                </a:lnTo>
                <a:lnTo>
                  <a:pt x="326390" y="276605"/>
                </a:lnTo>
                <a:lnTo>
                  <a:pt x="338963" y="266445"/>
                </a:lnTo>
                <a:lnTo>
                  <a:pt x="333375" y="260730"/>
                </a:lnTo>
                <a:lnTo>
                  <a:pt x="330581" y="254634"/>
                </a:lnTo>
                <a:lnTo>
                  <a:pt x="330581" y="241807"/>
                </a:lnTo>
                <a:lnTo>
                  <a:pt x="333248" y="235965"/>
                </a:lnTo>
                <a:lnTo>
                  <a:pt x="338582" y="230631"/>
                </a:lnTo>
                <a:lnTo>
                  <a:pt x="343535" y="225678"/>
                </a:lnTo>
                <a:lnTo>
                  <a:pt x="349123" y="223011"/>
                </a:lnTo>
                <a:lnTo>
                  <a:pt x="355346" y="222884"/>
                </a:lnTo>
                <a:lnTo>
                  <a:pt x="361442" y="222757"/>
                </a:lnTo>
                <a:lnTo>
                  <a:pt x="366776" y="224916"/>
                </a:lnTo>
                <a:lnTo>
                  <a:pt x="371094" y="229361"/>
                </a:lnTo>
                <a:lnTo>
                  <a:pt x="375285" y="233552"/>
                </a:lnTo>
                <a:lnTo>
                  <a:pt x="378079" y="239648"/>
                </a:lnTo>
                <a:lnTo>
                  <a:pt x="379349" y="247776"/>
                </a:lnTo>
                <a:lnTo>
                  <a:pt x="379445" y="248428"/>
                </a:lnTo>
                <a:lnTo>
                  <a:pt x="380122" y="258150"/>
                </a:lnTo>
                <a:lnTo>
                  <a:pt x="379836" y="270947"/>
                </a:lnTo>
                <a:lnTo>
                  <a:pt x="378587" y="286765"/>
                </a:lnTo>
                <a:lnTo>
                  <a:pt x="378260" y="290235"/>
                </a:lnTo>
                <a:lnTo>
                  <a:pt x="377434" y="303892"/>
                </a:lnTo>
                <a:lnTo>
                  <a:pt x="377698" y="314972"/>
                </a:lnTo>
                <a:lnTo>
                  <a:pt x="378333" y="322262"/>
                </a:lnTo>
                <a:lnTo>
                  <a:pt x="379857" y="328701"/>
                </a:lnTo>
                <a:lnTo>
                  <a:pt x="382397" y="334276"/>
                </a:lnTo>
                <a:lnTo>
                  <a:pt x="383921" y="337680"/>
                </a:lnTo>
                <a:lnTo>
                  <a:pt x="386080" y="340677"/>
                </a:lnTo>
                <a:lnTo>
                  <a:pt x="388874" y="343268"/>
                </a:lnTo>
                <a:lnTo>
                  <a:pt x="448437" y="283590"/>
                </a:lnTo>
                <a:close/>
              </a:path>
              <a:path w="644271" h="659015">
                <a:moveTo>
                  <a:pt x="421718" y="210193"/>
                </a:moveTo>
                <a:lnTo>
                  <a:pt x="411977" y="198624"/>
                </a:lnTo>
                <a:lnTo>
                  <a:pt x="405558" y="188462"/>
                </a:lnTo>
                <a:lnTo>
                  <a:pt x="402463" y="179704"/>
                </a:lnTo>
                <a:lnTo>
                  <a:pt x="405877" y="216601"/>
                </a:lnTo>
                <a:lnTo>
                  <a:pt x="415798" y="227329"/>
                </a:lnTo>
                <a:lnTo>
                  <a:pt x="418200" y="229691"/>
                </a:lnTo>
                <a:lnTo>
                  <a:pt x="429869" y="239939"/>
                </a:lnTo>
                <a:lnTo>
                  <a:pt x="421718" y="210193"/>
                </a:lnTo>
                <a:close/>
              </a:path>
              <a:path w="644271" h="659015">
                <a:moveTo>
                  <a:pt x="480588" y="251771"/>
                </a:moveTo>
                <a:lnTo>
                  <a:pt x="491236" y="243966"/>
                </a:lnTo>
                <a:lnTo>
                  <a:pt x="497840" y="237362"/>
                </a:lnTo>
                <a:lnTo>
                  <a:pt x="501523" y="230123"/>
                </a:lnTo>
                <a:lnTo>
                  <a:pt x="502285" y="222122"/>
                </a:lnTo>
                <a:lnTo>
                  <a:pt x="502321" y="221787"/>
                </a:lnTo>
                <a:lnTo>
                  <a:pt x="501579" y="209850"/>
                </a:lnTo>
                <a:lnTo>
                  <a:pt x="496951" y="197357"/>
                </a:lnTo>
                <a:lnTo>
                  <a:pt x="492130" y="189155"/>
                </a:lnTo>
                <a:lnTo>
                  <a:pt x="484526" y="179146"/>
                </a:lnTo>
                <a:lnTo>
                  <a:pt x="474599" y="168401"/>
                </a:lnTo>
                <a:lnTo>
                  <a:pt x="470359" y="164272"/>
                </a:lnTo>
                <a:lnTo>
                  <a:pt x="460182" y="155375"/>
                </a:lnTo>
                <a:lnTo>
                  <a:pt x="451231" y="149097"/>
                </a:lnTo>
                <a:lnTo>
                  <a:pt x="444627" y="145160"/>
                </a:lnTo>
                <a:lnTo>
                  <a:pt x="438277" y="142620"/>
                </a:lnTo>
                <a:lnTo>
                  <a:pt x="432181" y="141350"/>
                </a:lnTo>
                <a:lnTo>
                  <a:pt x="426212" y="140080"/>
                </a:lnTo>
                <a:lnTo>
                  <a:pt x="420370" y="140207"/>
                </a:lnTo>
                <a:lnTo>
                  <a:pt x="414782" y="141985"/>
                </a:lnTo>
                <a:lnTo>
                  <a:pt x="409194" y="143636"/>
                </a:lnTo>
                <a:lnTo>
                  <a:pt x="403987" y="146938"/>
                </a:lnTo>
                <a:lnTo>
                  <a:pt x="399034" y="151764"/>
                </a:lnTo>
                <a:lnTo>
                  <a:pt x="392557" y="158368"/>
                </a:lnTo>
                <a:lnTo>
                  <a:pt x="388874" y="165480"/>
                </a:lnTo>
                <a:lnTo>
                  <a:pt x="387985" y="173354"/>
                </a:lnTo>
                <a:lnTo>
                  <a:pt x="387949" y="173739"/>
                </a:lnTo>
                <a:lnTo>
                  <a:pt x="388790" y="185669"/>
                </a:lnTo>
                <a:lnTo>
                  <a:pt x="393319" y="198246"/>
                </a:lnTo>
                <a:lnTo>
                  <a:pt x="398231" y="206572"/>
                </a:lnTo>
                <a:lnTo>
                  <a:pt x="405877" y="216601"/>
                </a:lnTo>
                <a:lnTo>
                  <a:pt x="402463" y="179704"/>
                </a:lnTo>
                <a:lnTo>
                  <a:pt x="401193" y="172338"/>
                </a:lnTo>
                <a:lnTo>
                  <a:pt x="403098" y="166115"/>
                </a:lnTo>
                <a:lnTo>
                  <a:pt x="408178" y="161035"/>
                </a:lnTo>
                <a:lnTo>
                  <a:pt x="413258" y="155828"/>
                </a:lnTo>
                <a:lnTo>
                  <a:pt x="420116" y="154050"/>
                </a:lnTo>
                <a:lnTo>
                  <a:pt x="428371" y="155447"/>
                </a:lnTo>
                <a:lnTo>
                  <a:pt x="431134" y="156115"/>
                </a:lnTo>
                <a:lnTo>
                  <a:pt x="440128" y="160430"/>
                </a:lnTo>
                <a:lnTo>
                  <a:pt x="450855" y="168336"/>
                </a:lnTo>
                <a:lnTo>
                  <a:pt x="463296" y="179831"/>
                </a:lnTo>
                <a:lnTo>
                  <a:pt x="467589" y="184236"/>
                </a:lnTo>
                <a:lnTo>
                  <a:pt x="477830" y="196075"/>
                </a:lnTo>
                <a:lnTo>
                  <a:pt x="484491" y="206220"/>
                </a:lnTo>
                <a:lnTo>
                  <a:pt x="487553" y="214629"/>
                </a:lnTo>
                <a:lnTo>
                  <a:pt x="489077" y="223011"/>
                </a:lnTo>
                <a:lnTo>
                  <a:pt x="487172" y="229742"/>
                </a:lnTo>
                <a:lnTo>
                  <a:pt x="482092" y="234822"/>
                </a:lnTo>
                <a:lnTo>
                  <a:pt x="477012" y="239902"/>
                </a:lnTo>
                <a:lnTo>
                  <a:pt x="470281" y="241680"/>
                </a:lnTo>
                <a:lnTo>
                  <a:pt x="461899" y="240283"/>
                </a:lnTo>
                <a:lnTo>
                  <a:pt x="459258" y="239653"/>
                </a:lnTo>
                <a:lnTo>
                  <a:pt x="450291" y="235361"/>
                </a:lnTo>
                <a:lnTo>
                  <a:pt x="439614" y="227443"/>
                </a:lnTo>
                <a:lnTo>
                  <a:pt x="427228" y="215899"/>
                </a:lnTo>
                <a:lnTo>
                  <a:pt x="421718" y="210193"/>
                </a:lnTo>
                <a:lnTo>
                  <a:pt x="429869" y="239939"/>
                </a:lnTo>
                <a:lnTo>
                  <a:pt x="440964" y="247582"/>
                </a:lnTo>
                <a:lnTo>
                  <a:pt x="451474" y="252611"/>
                </a:lnTo>
                <a:lnTo>
                  <a:pt x="461391" y="255015"/>
                </a:lnTo>
                <a:lnTo>
                  <a:pt x="468772" y="255119"/>
                </a:lnTo>
                <a:lnTo>
                  <a:pt x="480588" y="251771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1" name="object 201"/>
          <p:cNvSpPr/>
          <p:nvPr/>
        </p:nvSpPr>
        <p:spPr>
          <a:xfrm>
            <a:off x="7423150" y="3958141"/>
            <a:ext cx="646938" cy="497476"/>
          </a:xfrm>
          <a:custGeom>
            <a:avLst/>
            <a:gdLst/>
            <a:ahLst/>
            <a:cxnLst/>
            <a:rect l="l" t="t" r="r" b="b"/>
            <a:pathLst>
              <a:path w="646938" h="664222">
                <a:moveTo>
                  <a:pt x="132715" y="604558"/>
                </a:moveTo>
                <a:lnTo>
                  <a:pt x="122047" y="593915"/>
                </a:lnTo>
                <a:lnTo>
                  <a:pt x="77724" y="638175"/>
                </a:lnTo>
                <a:lnTo>
                  <a:pt x="76961" y="634936"/>
                </a:lnTo>
                <a:lnTo>
                  <a:pt x="76580" y="631380"/>
                </a:lnTo>
                <a:lnTo>
                  <a:pt x="76326" y="623620"/>
                </a:lnTo>
                <a:lnTo>
                  <a:pt x="76834" y="615569"/>
                </a:lnTo>
                <a:lnTo>
                  <a:pt x="77850" y="603338"/>
                </a:lnTo>
                <a:lnTo>
                  <a:pt x="78590" y="593746"/>
                </a:lnTo>
                <a:lnTo>
                  <a:pt x="79215" y="580412"/>
                </a:lnTo>
                <a:lnTo>
                  <a:pt x="79121" y="570369"/>
                </a:lnTo>
                <a:lnTo>
                  <a:pt x="78740" y="563079"/>
                </a:lnTo>
                <a:lnTo>
                  <a:pt x="77470" y="556958"/>
                </a:lnTo>
                <a:lnTo>
                  <a:pt x="75438" y="551992"/>
                </a:lnTo>
                <a:lnTo>
                  <a:pt x="73405" y="547027"/>
                </a:lnTo>
                <a:lnTo>
                  <a:pt x="70611" y="542734"/>
                </a:lnTo>
                <a:lnTo>
                  <a:pt x="67055" y="539127"/>
                </a:lnTo>
                <a:lnTo>
                  <a:pt x="54270" y="530818"/>
                </a:lnTo>
                <a:lnTo>
                  <a:pt x="41528" y="528840"/>
                </a:lnTo>
                <a:lnTo>
                  <a:pt x="36478" y="529348"/>
                </a:lnTo>
                <a:lnTo>
                  <a:pt x="24862" y="533619"/>
                </a:lnTo>
                <a:lnTo>
                  <a:pt x="13843" y="542201"/>
                </a:lnTo>
                <a:lnTo>
                  <a:pt x="9850" y="546543"/>
                </a:lnTo>
                <a:lnTo>
                  <a:pt x="2850" y="557711"/>
                </a:lnTo>
                <a:lnTo>
                  <a:pt x="0" y="569379"/>
                </a:lnTo>
                <a:lnTo>
                  <a:pt x="42" y="574270"/>
                </a:lnTo>
                <a:lnTo>
                  <a:pt x="3197" y="586006"/>
                </a:lnTo>
                <a:lnTo>
                  <a:pt x="10668" y="597611"/>
                </a:lnTo>
                <a:lnTo>
                  <a:pt x="23114" y="587387"/>
                </a:lnTo>
                <a:lnTo>
                  <a:pt x="17525" y="581685"/>
                </a:lnTo>
                <a:lnTo>
                  <a:pt x="14731" y="575627"/>
                </a:lnTo>
                <a:lnTo>
                  <a:pt x="14731" y="562825"/>
                </a:lnTo>
                <a:lnTo>
                  <a:pt x="17399" y="556958"/>
                </a:lnTo>
                <a:lnTo>
                  <a:pt x="22732" y="551624"/>
                </a:lnTo>
                <a:lnTo>
                  <a:pt x="27813" y="546569"/>
                </a:lnTo>
                <a:lnTo>
                  <a:pt x="33400" y="543979"/>
                </a:lnTo>
                <a:lnTo>
                  <a:pt x="45720" y="543737"/>
                </a:lnTo>
                <a:lnTo>
                  <a:pt x="50926" y="545871"/>
                </a:lnTo>
                <a:lnTo>
                  <a:pt x="55372" y="550265"/>
                </a:lnTo>
                <a:lnTo>
                  <a:pt x="59563" y="554456"/>
                </a:lnTo>
                <a:lnTo>
                  <a:pt x="62229" y="560616"/>
                </a:lnTo>
                <a:lnTo>
                  <a:pt x="63500" y="568769"/>
                </a:lnTo>
                <a:lnTo>
                  <a:pt x="64274" y="579141"/>
                </a:lnTo>
                <a:lnTo>
                  <a:pt x="63987" y="591922"/>
                </a:lnTo>
                <a:lnTo>
                  <a:pt x="62738" y="607771"/>
                </a:lnTo>
                <a:lnTo>
                  <a:pt x="62421" y="611160"/>
                </a:lnTo>
                <a:lnTo>
                  <a:pt x="61658" y="624821"/>
                </a:lnTo>
                <a:lnTo>
                  <a:pt x="61975" y="635927"/>
                </a:lnTo>
                <a:lnTo>
                  <a:pt x="62483" y="643216"/>
                </a:lnTo>
                <a:lnTo>
                  <a:pt x="64134" y="649655"/>
                </a:lnTo>
                <a:lnTo>
                  <a:pt x="66675" y="655231"/>
                </a:lnTo>
                <a:lnTo>
                  <a:pt x="68199" y="658634"/>
                </a:lnTo>
                <a:lnTo>
                  <a:pt x="70230" y="661631"/>
                </a:lnTo>
                <a:lnTo>
                  <a:pt x="73025" y="664222"/>
                </a:lnTo>
                <a:lnTo>
                  <a:pt x="132715" y="604558"/>
                </a:lnTo>
                <a:close/>
              </a:path>
              <a:path w="646938" h="664222">
                <a:moveTo>
                  <a:pt x="164823" y="572726"/>
                </a:moveTo>
                <a:lnTo>
                  <a:pt x="166370" y="555752"/>
                </a:lnTo>
                <a:lnTo>
                  <a:pt x="161290" y="560844"/>
                </a:lnTo>
                <a:lnTo>
                  <a:pt x="154558" y="562673"/>
                </a:lnTo>
                <a:lnTo>
                  <a:pt x="146176" y="561238"/>
                </a:lnTo>
                <a:lnTo>
                  <a:pt x="143476" y="560579"/>
                </a:lnTo>
                <a:lnTo>
                  <a:pt x="134513" y="556258"/>
                </a:lnTo>
                <a:lnTo>
                  <a:pt x="123820" y="548350"/>
                </a:lnTo>
                <a:lnTo>
                  <a:pt x="111378" y="536854"/>
                </a:lnTo>
                <a:lnTo>
                  <a:pt x="105869" y="531164"/>
                </a:lnTo>
                <a:lnTo>
                  <a:pt x="96128" y="519612"/>
                </a:lnTo>
                <a:lnTo>
                  <a:pt x="89709" y="509442"/>
                </a:lnTo>
                <a:lnTo>
                  <a:pt x="90023" y="537533"/>
                </a:lnTo>
                <a:lnTo>
                  <a:pt x="99949" y="548246"/>
                </a:lnTo>
                <a:lnTo>
                  <a:pt x="102501" y="550744"/>
                </a:lnTo>
                <a:lnTo>
                  <a:pt x="114195" y="560966"/>
                </a:lnTo>
                <a:lnTo>
                  <a:pt x="125288" y="568582"/>
                </a:lnTo>
                <a:lnTo>
                  <a:pt x="135779" y="573596"/>
                </a:lnTo>
                <a:lnTo>
                  <a:pt x="145669" y="576008"/>
                </a:lnTo>
                <a:lnTo>
                  <a:pt x="153063" y="576105"/>
                </a:lnTo>
                <a:lnTo>
                  <a:pt x="164823" y="572726"/>
                </a:lnTo>
                <a:close/>
              </a:path>
              <a:path w="646938" h="664222">
                <a:moveTo>
                  <a:pt x="256285" y="480974"/>
                </a:moveTo>
                <a:lnTo>
                  <a:pt x="165607" y="390347"/>
                </a:lnTo>
                <a:lnTo>
                  <a:pt x="158496" y="397484"/>
                </a:lnTo>
                <a:lnTo>
                  <a:pt x="160527" y="403313"/>
                </a:lnTo>
                <a:lnTo>
                  <a:pt x="161290" y="410629"/>
                </a:lnTo>
                <a:lnTo>
                  <a:pt x="160781" y="419404"/>
                </a:lnTo>
                <a:lnTo>
                  <a:pt x="160644" y="421375"/>
                </a:lnTo>
                <a:lnTo>
                  <a:pt x="158753" y="433707"/>
                </a:lnTo>
                <a:lnTo>
                  <a:pt x="155067" y="446252"/>
                </a:lnTo>
                <a:lnTo>
                  <a:pt x="165734" y="456958"/>
                </a:lnTo>
                <a:lnTo>
                  <a:pt x="168021" y="452247"/>
                </a:lnTo>
                <a:lnTo>
                  <a:pt x="169925" y="446443"/>
                </a:lnTo>
                <a:lnTo>
                  <a:pt x="171703" y="439572"/>
                </a:lnTo>
                <a:lnTo>
                  <a:pt x="173481" y="432689"/>
                </a:lnTo>
                <a:lnTo>
                  <a:pt x="174498" y="426656"/>
                </a:lnTo>
                <a:lnTo>
                  <a:pt x="174625" y="421436"/>
                </a:lnTo>
                <a:lnTo>
                  <a:pt x="245236" y="492048"/>
                </a:lnTo>
                <a:lnTo>
                  <a:pt x="256285" y="480974"/>
                </a:lnTo>
                <a:close/>
              </a:path>
              <a:path w="646938" h="664222">
                <a:moveTo>
                  <a:pt x="292352" y="437718"/>
                </a:moveTo>
                <a:lnTo>
                  <a:pt x="304226" y="433659"/>
                </a:lnTo>
                <a:lnTo>
                  <a:pt x="314959" y="425513"/>
                </a:lnTo>
                <a:lnTo>
                  <a:pt x="320318" y="419291"/>
                </a:lnTo>
                <a:lnTo>
                  <a:pt x="326337" y="407943"/>
                </a:lnTo>
                <a:lnTo>
                  <a:pt x="328549" y="395503"/>
                </a:lnTo>
                <a:lnTo>
                  <a:pt x="328283" y="389540"/>
                </a:lnTo>
                <a:lnTo>
                  <a:pt x="324741" y="377352"/>
                </a:lnTo>
                <a:lnTo>
                  <a:pt x="317119" y="366839"/>
                </a:lnTo>
                <a:lnTo>
                  <a:pt x="311276" y="361022"/>
                </a:lnTo>
                <a:lnTo>
                  <a:pt x="304926" y="357644"/>
                </a:lnTo>
                <a:lnTo>
                  <a:pt x="298069" y="356717"/>
                </a:lnTo>
                <a:lnTo>
                  <a:pt x="291338" y="355790"/>
                </a:lnTo>
                <a:lnTo>
                  <a:pt x="284606" y="357390"/>
                </a:lnTo>
                <a:lnTo>
                  <a:pt x="278002" y="361492"/>
                </a:lnTo>
                <a:lnTo>
                  <a:pt x="280289" y="355498"/>
                </a:lnTo>
                <a:lnTo>
                  <a:pt x="280797" y="349859"/>
                </a:lnTo>
                <a:lnTo>
                  <a:pt x="279653" y="344563"/>
                </a:lnTo>
                <a:lnTo>
                  <a:pt x="278510" y="339267"/>
                </a:lnTo>
                <a:lnTo>
                  <a:pt x="276098" y="334670"/>
                </a:lnTo>
                <a:lnTo>
                  <a:pt x="272160" y="330771"/>
                </a:lnTo>
                <a:lnTo>
                  <a:pt x="268097" y="326669"/>
                </a:lnTo>
                <a:lnTo>
                  <a:pt x="263144" y="323888"/>
                </a:lnTo>
                <a:lnTo>
                  <a:pt x="257175" y="322427"/>
                </a:lnTo>
                <a:lnTo>
                  <a:pt x="251332" y="320967"/>
                </a:lnTo>
                <a:lnTo>
                  <a:pt x="245364" y="321259"/>
                </a:lnTo>
                <a:lnTo>
                  <a:pt x="239014" y="323291"/>
                </a:lnTo>
                <a:lnTo>
                  <a:pt x="232791" y="325323"/>
                </a:lnTo>
                <a:lnTo>
                  <a:pt x="227202" y="328803"/>
                </a:lnTo>
                <a:lnTo>
                  <a:pt x="222250" y="333717"/>
                </a:lnTo>
                <a:lnTo>
                  <a:pt x="213693" y="345690"/>
                </a:lnTo>
                <a:lnTo>
                  <a:pt x="210566" y="357759"/>
                </a:lnTo>
                <a:lnTo>
                  <a:pt x="210440" y="360375"/>
                </a:lnTo>
                <a:lnTo>
                  <a:pt x="212412" y="372354"/>
                </a:lnTo>
                <a:lnTo>
                  <a:pt x="218567" y="384263"/>
                </a:lnTo>
                <a:lnTo>
                  <a:pt x="231648" y="375158"/>
                </a:lnTo>
                <a:lnTo>
                  <a:pt x="226949" y="368922"/>
                </a:lnTo>
                <a:lnTo>
                  <a:pt x="224790" y="363004"/>
                </a:lnTo>
                <a:lnTo>
                  <a:pt x="225044" y="351840"/>
                </a:lnTo>
                <a:lnTo>
                  <a:pt x="227329" y="346900"/>
                </a:lnTo>
                <a:lnTo>
                  <a:pt x="231648" y="342595"/>
                </a:lnTo>
                <a:lnTo>
                  <a:pt x="235966" y="338239"/>
                </a:lnTo>
                <a:lnTo>
                  <a:pt x="240919" y="336016"/>
                </a:lnTo>
                <a:lnTo>
                  <a:pt x="251714" y="335864"/>
                </a:lnTo>
                <a:lnTo>
                  <a:pt x="256413" y="337845"/>
                </a:lnTo>
                <a:lnTo>
                  <a:pt x="260476" y="341909"/>
                </a:lnTo>
                <a:lnTo>
                  <a:pt x="265683" y="347040"/>
                </a:lnTo>
                <a:lnTo>
                  <a:pt x="267589" y="352729"/>
                </a:lnTo>
                <a:lnTo>
                  <a:pt x="266192" y="358965"/>
                </a:lnTo>
                <a:lnTo>
                  <a:pt x="264922" y="365201"/>
                </a:lnTo>
                <a:lnTo>
                  <a:pt x="261874" y="370687"/>
                </a:lnTo>
                <a:lnTo>
                  <a:pt x="257175" y="375399"/>
                </a:lnTo>
                <a:lnTo>
                  <a:pt x="255270" y="377063"/>
                </a:lnTo>
                <a:lnTo>
                  <a:pt x="263778" y="388023"/>
                </a:lnTo>
                <a:lnTo>
                  <a:pt x="266065" y="384086"/>
                </a:lnTo>
                <a:lnTo>
                  <a:pt x="268224" y="381063"/>
                </a:lnTo>
                <a:lnTo>
                  <a:pt x="270382" y="378968"/>
                </a:lnTo>
                <a:lnTo>
                  <a:pt x="275463" y="373837"/>
                </a:lnTo>
                <a:lnTo>
                  <a:pt x="281431" y="371271"/>
                </a:lnTo>
                <a:lnTo>
                  <a:pt x="294640" y="371221"/>
                </a:lnTo>
                <a:lnTo>
                  <a:pt x="300481" y="373761"/>
                </a:lnTo>
                <a:lnTo>
                  <a:pt x="305561" y="378853"/>
                </a:lnTo>
                <a:lnTo>
                  <a:pt x="310896" y="384187"/>
                </a:lnTo>
                <a:lnTo>
                  <a:pt x="313563" y="390461"/>
                </a:lnTo>
                <a:lnTo>
                  <a:pt x="313690" y="404863"/>
                </a:lnTo>
                <a:lnTo>
                  <a:pt x="311023" y="411073"/>
                </a:lnTo>
                <a:lnTo>
                  <a:pt x="305816" y="416280"/>
                </a:lnTo>
                <a:lnTo>
                  <a:pt x="301498" y="420674"/>
                </a:lnTo>
                <a:lnTo>
                  <a:pt x="296291" y="423011"/>
                </a:lnTo>
                <a:lnTo>
                  <a:pt x="290449" y="423303"/>
                </a:lnTo>
                <a:lnTo>
                  <a:pt x="284733" y="423583"/>
                </a:lnTo>
                <a:lnTo>
                  <a:pt x="278002" y="421220"/>
                </a:lnTo>
                <a:lnTo>
                  <a:pt x="270382" y="416217"/>
                </a:lnTo>
                <a:lnTo>
                  <a:pt x="260857" y="428777"/>
                </a:lnTo>
                <a:lnTo>
                  <a:pt x="264141" y="431250"/>
                </a:lnTo>
                <a:lnTo>
                  <a:pt x="275639" y="436771"/>
                </a:lnTo>
                <a:lnTo>
                  <a:pt x="288163" y="438162"/>
                </a:lnTo>
                <a:lnTo>
                  <a:pt x="292352" y="437718"/>
                </a:lnTo>
                <a:close/>
              </a:path>
              <a:path w="646938" h="664222">
                <a:moveTo>
                  <a:pt x="359918" y="380466"/>
                </a:moveTo>
                <a:lnTo>
                  <a:pt x="292607" y="260985"/>
                </a:lnTo>
                <a:lnTo>
                  <a:pt x="283845" y="269875"/>
                </a:lnTo>
                <a:lnTo>
                  <a:pt x="350900" y="389394"/>
                </a:lnTo>
                <a:lnTo>
                  <a:pt x="359918" y="380466"/>
                </a:lnTo>
                <a:close/>
              </a:path>
              <a:path w="646938" h="664222">
                <a:moveTo>
                  <a:pt x="448436" y="288798"/>
                </a:moveTo>
                <a:lnTo>
                  <a:pt x="437769" y="278130"/>
                </a:lnTo>
                <a:lnTo>
                  <a:pt x="393573" y="322427"/>
                </a:lnTo>
                <a:lnTo>
                  <a:pt x="392810" y="319189"/>
                </a:lnTo>
                <a:lnTo>
                  <a:pt x="392302" y="315633"/>
                </a:lnTo>
                <a:lnTo>
                  <a:pt x="392049" y="307873"/>
                </a:lnTo>
                <a:lnTo>
                  <a:pt x="392556" y="299847"/>
                </a:lnTo>
                <a:lnTo>
                  <a:pt x="393700" y="287528"/>
                </a:lnTo>
                <a:lnTo>
                  <a:pt x="394365" y="278053"/>
                </a:lnTo>
                <a:lnTo>
                  <a:pt x="394943" y="264689"/>
                </a:lnTo>
                <a:lnTo>
                  <a:pt x="394843" y="254635"/>
                </a:lnTo>
                <a:lnTo>
                  <a:pt x="394461" y="247396"/>
                </a:lnTo>
                <a:lnTo>
                  <a:pt x="393192" y="241173"/>
                </a:lnTo>
                <a:lnTo>
                  <a:pt x="391159" y="236220"/>
                </a:lnTo>
                <a:lnTo>
                  <a:pt x="389127" y="231267"/>
                </a:lnTo>
                <a:lnTo>
                  <a:pt x="386333" y="226949"/>
                </a:lnTo>
                <a:lnTo>
                  <a:pt x="382777" y="223393"/>
                </a:lnTo>
                <a:lnTo>
                  <a:pt x="370058" y="215095"/>
                </a:lnTo>
                <a:lnTo>
                  <a:pt x="357377" y="213106"/>
                </a:lnTo>
                <a:lnTo>
                  <a:pt x="352191" y="213632"/>
                </a:lnTo>
                <a:lnTo>
                  <a:pt x="340555" y="217905"/>
                </a:lnTo>
                <a:lnTo>
                  <a:pt x="329565" y="226440"/>
                </a:lnTo>
                <a:lnTo>
                  <a:pt x="325572" y="230805"/>
                </a:lnTo>
                <a:lnTo>
                  <a:pt x="318572" y="241975"/>
                </a:lnTo>
                <a:lnTo>
                  <a:pt x="315722" y="253619"/>
                </a:lnTo>
                <a:lnTo>
                  <a:pt x="315762" y="258477"/>
                </a:lnTo>
                <a:lnTo>
                  <a:pt x="318912" y="270210"/>
                </a:lnTo>
                <a:lnTo>
                  <a:pt x="326390" y="281813"/>
                </a:lnTo>
                <a:lnTo>
                  <a:pt x="338963" y="271653"/>
                </a:lnTo>
                <a:lnTo>
                  <a:pt x="333248" y="265938"/>
                </a:lnTo>
                <a:lnTo>
                  <a:pt x="330453" y="259842"/>
                </a:lnTo>
                <a:lnTo>
                  <a:pt x="330453" y="247015"/>
                </a:lnTo>
                <a:lnTo>
                  <a:pt x="333121" y="241173"/>
                </a:lnTo>
                <a:lnTo>
                  <a:pt x="338454" y="235839"/>
                </a:lnTo>
                <a:lnTo>
                  <a:pt x="343534" y="230886"/>
                </a:lnTo>
                <a:lnTo>
                  <a:pt x="349123" y="228219"/>
                </a:lnTo>
                <a:lnTo>
                  <a:pt x="355346" y="228092"/>
                </a:lnTo>
                <a:lnTo>
                  <a:pt x="361442" y="227965"/>
                </a:lnTo>
                <a:lnTo>
                  <a:pt x="366775" y="230124"/>
                </a:lnTo>
                <a:lnTo>
                  <a:pt x="371094" y="234569"/>
                </a:lnTo>
                <a:lnTo>
                  <a:pt x="375284" y="238760"/>
                </a:lnTo>
                <a:lnTo>
                  <a:pt x="378078" y="244856"/>
                </a:lnTo>
                <a:lnTo>
                  <a:pt x="379222" y="252984"/>
                </a:lnTo>
                <a:lnTo>
                  <a:pt x="379318" y="253635"/>
                </a:lnTo>
                <a:lnTo>
                  <a:pt x="379995" y="263357"/>
                </a:lnTo>
                <a:lnTo>
                  <a:pt x="379709" y="276154"/>
                </a:lnTo>
                <a:lnTo>
                  <a:pt x="378459" y="291973"/>
                </a:lnTo>
                <a:lnTo>
                  <a:pt x="378138" y="295432"/>
                </a:lnTo>
                <a:lnTo>
                  <a:pt x="377380" y="309095"/>
                </a:lnTo>
                <a:lnTo>
                  <a:pt x="377698" y="320179"/>
                </a:lnTo>
                <a:lnTo>
                  <a:pt x="378332" y="327469"/>
                </a:lnTo>
                <a:lnTo>
                  <a:pt x="379856" y="333908"/>
                </a:lnTo>
                <a:lnTo>
                  <a:pt x="382397" y="339483"/>
                </a:lnTo>
                <a:lnTo>
                  <a:pt x="383921" y="342887"/>
                </a:lnTo>
                <a:lnTo>
                  <a:pt x="386079" y="345884"/>
                </a:lnTo>
                <a:lnTo>
                  <a:pt x="388747" y="348475"/>
                </a:lnTo>
                <a:lnTo>
                  <a:pt x="448436" y="288798"/>
                </a:lnTo>
                <a:close/>
              </a:path>
              <a:path w="646938" h="664222">
                <a:moveTo>
                  <a:pt x="421634" y="215400"/>
                </a:moveTo>
                <a:lnTo>
                  <a:pt x="411942" y="203831"/>
                </a:lnTo>
                <a:lnTo>
                  <a:pt x="405510" y="193669"/>
                </a:lnTo>
                <a:lnTo>
                  <a:pt x="402335" y="184912"/>
                </a:lnTo>
                <a:lnTo>
                  <a:pt x="405877" y="221808"/>
                </a:lnTo>
                <a:lnTo>
                  <a:pt x="415798" y="232537"/>
                </a:lnTo>
                <a:lnTo>
                  <a:pt x="418200" y="234898"/>
                </a:lnTo>
                <a:lnTo>
                  <a:pt x="429869" y="245146"/>
                </a:lnTo>
                <a:lnTo>
                  <a:pt x="421634" y="215400"/>
                </a:lnTo>
                <a:close/>
              </a:path>
              <a:path w="646938" h="664222">
                <a:moveTo>
                  <a:pt x="480533" y="256978"/>
                </a:moveTo>
                <a:lnTo>
                  <a:pt x="491235" y="249174"/>
                </a:lnTo>
                <a:lnTo>
                  <a:pt x="497840" y="242570"/>
                </a:lnTo>
                <a:lnTo>
                  <a:pt x="501523" y="235331"/>
                </a:lnTo>
                <a:lnTo>
                  <a:pt x="502284" y="227330"/>
                </a:lnTo>
                <a:lnTo>
                  <a:pt x="502310" y="227056"/>
                </a:lnTo>
                <a:lnTo>
                  <a:pt x="501491" y="215090"/>
                </a:lnTo>
                <a:lnTo>
                  <a:pt x="496950" y="202565"/>
                </a:lnTo>
                <a:lnTo>
                  <a:pt x="492105" y="194362"/>
                </a:lnTo>
                <a:lnTo>
                  <a:pt x="484470" y="184353"/>
                </a:lnTo>
                <a:lnTo>
                  <a:pt x="474599" y="173609"/>
                </a:lnTo>
                <a:lnTo>
                  <a:pt x="470359" y="169479"/>
                </a:lnTo>
                <a:lnTo>
                  <a:pt x="460182" y="160582"/>
                </a:lnTo>
                <a:lnTo>
                  <a:pt x="451230" y="154305"/>
                </a:lnTo>
                <a:lnTo>
                  <a:pt x="444626" y="150368"/>
                </a:lnTo>
                <a:lnTo>
                  <a:pt x="438276" y="147828"/>
                </a:lnTo>
                <a:lnTo>
                  <a:pt x="432180" y="146558"/>
                </a:lnTo>
                <a:lnTo>
                  <a:pt x="426211" y="145287"/>
                </a:lnTo>
                <a:lnTo>
                  <a:pt x="420370" y="145415"/>
                </a:lnTo>
                <a:lnTo>
                  <a:pt x="414781" y="147193"/>
                </a:lnTo>
                <a:lnTo>
                  <a:pt x="409067" y="148844"/>
                </a:lnTo>
                <a:lnTo>
                  <a:pt x="403859" y="152146"/>
                </a:lnTo>
                <a:lnTo>
                  <a:pt x="399033" y="156972"/>
                </a:lnTo>
                <a:lnTo>
                  <a:pt x="392429" y="163576"/>
                </a:lnTo>
                <a:lnTo>
                  <a:pt x="388747" y="170687"/>
                </a:lnTo>
                <a:lnTo>
                  <a:pt x="387984" y="178562"/>
                </a:lnTo>
                <a:lnTo>
                  <a:pt x="387949" y="178946"/>
                </a:lnTo>
                <a:lnTo>
                  <a:pt x="388790" y="190876"/>
                </a:lnTo>
                <a:lnTo>
                  <a:pt x="393319" y="203454"/>
                </a:lnTo>
                <a:lnTo>
                  <a:pt x="398231" y="211779"/>
                </a:lnTo>
                <a:lnTo>
                  <a:pt x="405877" y="221808"/>
                </a:lnTo>
                <a:lnTo>
                  <a:pt x="402335" y="184912"/>
                </a:lnTo>
                <a:lnTo>
                  <a:pt x="401066" y="177546"/>
                </a:lnTo>
                <a:lnTo>
                  <a:pt x="402971" y="171323"/>
                </a:lnTo>
                <a:lnTo>
                  <a:pt x="408050" y="166243"/>
                </a:lnTo>
                <a:lnTo>
                  <a:pt x="413257" y="161036"/>
                </a:lnTo>
                <a:lnTo>
                  <a:pt x="419989" y="159258"/>
                </a:lnTo>
                <a:lnTo>
                  <a:pt x="428371" y="160655"/>
                </a:lnTo>
                <a:lnTo>
                  <a:pt x="440034" y="165607"/>
                </a:lnTo>
                <a:lnTo>
                  <a:pt x="450727" y="173519"/>
                </a:lnTo>
                <a:lnTo>
                  <a:pt x="463169" y="185039"/>
                </a:lnTo>
                <a:lnTo>
                  <a:pt x="467559" y="189508"/>
                </a:lnTo>
                <a:lnTo>
                  <a:pt x="477832" y="201319"/>
                </a:lnTo>
                <a:lnTo>
                  <a:pt x="484496" y="211443"/>
                </a:lnTo>
                <a:lnTo>
                  <a:pt x="487552" y="219837"/>
                </a:lnTo>
                <a:lnTo>
                  <a:pt x="488950" y="228219"/>
                </a:lnTo>
                <a:lnTo>
                  <a:pt x="487172" y="234950"/>
                </a:lnTo>
                <a:lnTo>
                  <a:pt x="482092" y="240030"/>
                </a:lnTo>
                <a:lnTo>
                  <a:pt x="477011" y="245110"/>
                </a:lnTo>
                <a:lnTo>
                  <a:pt x="470280" y="246887"/>
                </a:lnTo>
                <a:lnTo>
                  <a:pt x="461899" y="245490"/>
                </a:lnTo>
                <a:lnTo>
                  <a:pt x="450235" y="240538"/>
                </a:lnTo>
                <a:lnTo>
                  <a:pt x="439542" y="232626"/>
                </a:lnTo>
                <a:lnTo>
                  <a:pt x="427100" y="221107"/>
                </a:lnTo>
                <a:lnTo>
                  <a:pt x="421634" y="215400"/>
                </a:lnTo>
                <a:lnTo>
                  <a:pt x="429869" y="245146"/>
                </a:lnTo>
                <a:lnTo>
                  <a:pt x="440964" y="252789"/>
                </a:lnTo>
                <a:lnTo>
                  <a:pt x="451474" y="257818"/>
                </a:lnTo>
                <a:lnTo>
                  <a:pt x="461391" y="260223"/>
                </a:lnTo>
                <a:lnTo>
                  <a:pt x="468757" y="260326"/>
                </a:lnTo>
                <a:lnTo>
                  <a:pt x="480533" y="256978"/>
                </a:lnTo>
                <a:close/>
              </a:path>
              <a:path w="646938" h="664222">
                <a:moveTo>
                  <a:pt x="572007" y="165227"/>
                </a:moveTo>
                <a:lnTo>
                  <a:pt x="481456" y="74549"/>
                </a:lnTo>
                <a:lnTo>
                  <a:pt x="474218" y="81787"/>
                </a:lnTo>
                <a:lnTo>
                  <a:pt x="476250" y="87630"/>
                </a:lnTo>
                <a:lnTo>
                  <a:pt x="477011" y="94868"/>
                </a:lnTo>
                <a:lnTo>
                  <a:pt x="476503" y="103632"/>
                </a:lnTo>
                <a:lnTo>
                  <a:pt x="476361" y="105665"/>
                </a:lnTo>
                <a:lnTo>
                  <a:pt x="474467" y="117991"/>
                </a:lnTo>
                <a:lnTo>
                  <a:pt x="470789" y="130556"/>
                </a:lnTo>
                <a:lnTo>
                  <a:pt x="481583" y="141224"/>
                </a:lnTo>
                <a:lnTo>
                  <a:pt x="483743" y="136525"/>
                </a:lnTo>
                <a:lnTo>
                  <a:pt x="485648" y="130683"/>
                </a:lnTo>
                <a:lnTo>
                  <a:pt x="487425" y="123825"/>
                </a:lnTo>
                <a:lnTo>
                  <a:pt x="489203" y="116967"/>
                </a:lnTo>
                <a:lnTo>
                  <a:pt x="490220" y="110871"/>
                </a:lnTo>
                <a:lnTo>
                  <a:pt x="490347" y="105664"/>
                </a:lnTo>
                <a:lnTo>
                  <a:pt x="560958" y="176276"/>
                </a:lnTo>
                <a:lnTo>
                  <a:pt x="572007" y="165227"/>
                </a:lnTo>
                <a:close/>
              </a:path>
              <a:path w="646938" h="664222">
                <a:moveTo>
                  <a:pt x="614299" y="79756"/>
                </a:moveTo>
                <a:lnTo>
                  <a:pt x="635889" y="101346"/>
                </a:lnTo>
                <a:lnTo>
                  <a:pt x="646938" y="90297"/>
                </a:lnTo>
                <a:lnTo>
                  <a:pt x="625348" y="68707"/>
                </a:lnTo>
                <a:lnTo>
                  <a:pt x="637540" y="56515"/>
                </a:lnTo>
                <a:lnTo>
                  <a:pt x="627379" y="46355"/>
                </a:lnTo>
                <a:lnTo>
                  <a:pt x="615188" y="58546"/>
                </a:lnTo>
                <a:lnTo>
                  <a:pt x="604139" y="69596"/>
                </a:lnTo>
                <a:lnTo>
                  <a:pt x="575818" y="97917"/>
                </a:lnTo>
                <a:lnTo>
                  <a:pt x="564896" y="108839"/>
                </a:lnTo>
                <a:lnTo>
                  <a:pt x="575055" y="118999"/>
                </a:lnTo>
                <a:lnTo>
                  <a:pt x="614299" y="79756"/>
                </a:lnTo>
                <a:close/>
              </a:path>
              <a:path w="646938" h="664222">
                <a:moveTo>
                  <a:pt x="575818" y="97917"/>
                </a:moveTo>
                <a:lnTo>
                  <a:pt x="563372" y="28956"/>
                </a:lnTo>
                <a:lnTo>
                  <a:pt x="604139" y="69596"/>
                </a:lnTo>
                <a:lnTo>
                  <a:pt x="615188" y="58546"/>
                </a:lnTo>
                <a:lnTo>
                  <a:pt x="556641" y="0"/>
                </a:lnTo>
                <a:lnTo>
                  <a:pt x="547624" y="9143"/>
                </a:lnTo>
                <a:lnTo>
                  <a:pt x="564896" y="108839"/>
                </a:lnTo>
                <a:lnTo>
                  <a:pt x="575818" y="97917"/>
                </a:lnTo>
                <a:close/>
              </a:path>
              <a:path w="646938" h="664222">
                <a:moveTo>
                  <a:pt x="175514" y="564870"/>
                </a:moveTo>
                <a:lnTo>
                  <a:pt x="182118" y="558266"/>
                </a:lnTo>
                <a:lnTo>
                  <a:pt x="185800" y="551014"/>
                </a:lnTo>
                <a:lnTo>
                  <a:pt x="186563" y="543140"/>
                </a:lnTo>
                <a:lnTo>
                  <a:pt x="186594" y="542800"/>
                </a:lnTo>
                <a:lnTo>
                  <a:pt x="185762" y="530836"/>
                </a:lnTo>
                <a:lnTo>
                  <a:pt x="181228" y="518299"/>
                </a:lnTo>
                <a:lnTo>
                  <a:pt x="176398" y="510092"/>
                </a:lnTo>
                <a:lnTo>
                  <a:pt x="168758" y="500089"/>
                </a:lnTo>
                <a:lnTo>
                  <a:pt x="158876" y="489394"/>
                </a:lnTo>
                <a:lnTo>
                  <a:pt x="154594" y="485242"/>
                </a:lnTo>
                <a:lnTo>
                  <a:pt x="144421" y="476342"/>
                </a:lnTo>
                <a:lnTo>
                  <a:pt x="135508" y="470090"/>
                </a:lnTo>
                <a:lnTo>
                  <a:pt x="128904" y="466166"/>
                </a:lnTo>
                <a:lnTo>
                  <a:pt x="122554" y="463562"/>
                </a:lnTo>
                <a:lnTo>
                  <a:pt x="116458" y="462267"/>
                </a:lnTo>
                <a:lnTo>
                  <a:pt x="110363" y="460984"/>
                </a:lnTo>
                <a:lnTo>
                  <a:pt x="104521" y="461187"/>
                </a:lnTo>
                <a:lnTo>
                  <a:pt x="98932" y="462889"/>
                </a:lnTo>
                <a:lnTo>
                  <a:pt x="93345" y="464591"/>
                </a:lnTo>
                <a:lnTo>
                  <a:pt x="88138" y="467868"/>
                </a:lnTo>
                <a:lnTo>
                  <a:pt x="83311" y="472706"/>
                </a:lnTo>
                <a:lnTo>
                  <a:pt x="76707" y="479272"/>
                </a:lnTo>
                <a:lnTo>
                  <a:pt x="73025" y="486486"/>
                </a:lnTo>
                <a:lnTo>
                  <a:pt x="72263" y="494347"/>
                </a:lnTo>
                <a:lnTo>
                  <a:pt x="72234" y="494656"/>
                </a:lnTo>
                <a:lnTo>
                  <a:pt x="72995" y="506616"/>
                </a:lnTo>
                <a:lnTo>
                  <a:pt x="77470" y="519188"/>
                </a:lnTo>
                <a:lnTo>
                  <a:pt x="82374" y="527525"/>
                </a:lnTo>
                <a:lnTo>
                  <a:pt x="90023" y="537533"/>
                </a:lnTo>
                <a:lnTo>
                  <a:pt x="89709" y="509442"/>
                </a:lnTo>
                <a:lnTo>
                  <a:pt x="86614" y="500659"/>
                </a:lnTo>
                <a:lnTo>
                  <a:pt x="85344" y="493306"/>
                </a:lnTo>
                <a:lnTo>
                  <a:pt x="87249" y="487095"/>
                </a:lnTo>
                <a:lnTo>
                  <a:pt x="92328" y="482003"/>
                </a:lnTo>
                <a:lnTo>
                  <a:pt x="97535" y="476834"/>
                </a:lnTo>
                <a:lnTo>
                  <a:pt x="104267" y="474954"/>
                </a:lnTo>
                <a:lnTo>
                  <a:pt x="112649" y="476377"/>
                </a:lnTo>
                <a:lnTo>
                  <a:pt x="124319" y="481348"/>
                </a:lnTo>
                <a:lnTo>
                  <a:pt x="135009" y="489267"/>
                </a:lnTo>
                <a:lnTo>
                  <a:pt x="147447" y="500786"/>
                </a:lnTo>
                <a:lnTo>
                  <a:pt x="151767" y="505226"/>
                </a:lnTo>
                <a:lnTo>
                  <a:pt x="162001" y="517040"/>
                </a:lnTo>
                <a:lnTo>
                  <a:pt x="168689" y="527143"/>
                </a:lnTo>
                <a:lnTo>
                  <a:pt x="171830" y="535533"/>
                </a:lnTo>
                <a:lnTo>
                  <a:pt x="173227" y="543928"/>
                </a:lnTo>
                <a:lnTo>
                  <a:pt x="171450" y="550672"/>
                </a:lnTo>
                <a:lnTo>
                  <a:pt x="166370" y="555752"/>
                </a:lnTo>
                <a:lnTo>
                  <a:pt x="164823" y="572726"/>
                </a:lnTo>
                <a:lnTo>
                  <a:pt x="175514" y="56487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2" name="object 202"/>
          <p:cNvSpPr/>
          <p:nvPr/>
        </p:nvSpPr>
        <p:spPr>
          <a:xfrm>
            <a:off x="2324100" y="1134565"/>
            <a:ext cx="115824" cy="87889"/>
          </a:xfrm>
          <a:custGeom>
            <a:avLst/>
            <a:gdLst/>
            <a:ahLst/>
            <a:cxnLst/>
            <a:rect l="l" t="t" r="r" b="b"/>
            <a:pathLst>
              <a:path w="115824" h="117348">
                <a:moveTo>
                  <a:pt x="0" y="117348"/>
                </a:moveTo>
                <a:lnTo>
                  <a:pt x="115824" y="117348"/>
                </a:lnTo>
                <a:lnTo>
                  <a:pt x="115824" y="0"/>
                </a:lnTo>
                <a:lnTo>
                  <a:pt x="0" y="0"/>
                </a:lnTo>
                <a:lnTo>
                  <a:pt x="0" y="117348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3" name="object 203"/>
          <p:cNvSpPr/>
          <p:nvPr/>
        </p:nvSpPr>
        <p:spPr>
          <a:xfrm>
            <a:off x="3727704" y="1134565"/>
            <a:ext cx="117348" cy="87889"/>
          </a:xfrm>
          <a:custGeom>
            <a:avLst/>
            <a:gdLst/>
            <a:ahLst/>
            <a:cxnLst/>
            <a:rect l="l" t="t" r="r" b="b"/>
            <a:pathLst>
              <a:path w="117348" h="117348">
                <a:moveTo>
                  <a:pt x="0" y="117348"/>
                </a:moveTo>
                <a:lnTo>
                  <a:pt x="117348" y="117348"/>
                </a:lnTo>
                <a:lnTo>
                  <a:pt x="117348" y="0"/>
                </a:lnTo>
                <a:lnTo>
                  <a:pt x="0" y="0"/>
                </a:lnTo>
                <a:lnTo>
                  <a:pt x="0" y="11734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4" name="object 204"/>
          <p:cNvSpPr/>
          <p:nvPr/>
        </p:nvSpPr>
        <p:spPr>
          <a:xfrm>
            <a:off x="6171693" y="2857237"/>
            <a:ext cx="420319" cy="195952"/>
          </a:xfrm>
          <a:custGeom>
            <a:avLst/>
            <a:gdLst/>
            <a:ahLst/>
            <a:cxnLst/>
            <a:rect l="l" t="t" r="r" b="b"/>
            <a:pathLst>
              <a:path w="420319" h="261632">
                <a:moveTo>
                  <a:pt x="0" y="261632"/>
                </a:moveTo>
                <a:lnTo>
                  <a:pt x="420319" y="261632"/>
                </a:lnTo>
                <a:lnTo>
                  <a:pt x="420319" y="0"/>
                </a:lnTo>
                <a:lnTo>
                  <a:pt x="0" y="0"/>
                </a:lnTo>
                <a:lnTo>
                  <a:pt x="0" y="261632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5" name="object 205"/>
          <p:cNvSpPr/>
          <p:nvPr/>
        </p:nvSpPr>
        <p:spPr>
          <a:xfrm>
            <a:off x="6171693" y="2857237"/>
            <a:ext cx="420319" cy="195952"/>
          </a:xfrm>
          <a:custGeom>
            <a:avLst/>
            <a:gdLst/>
            <a:ahLst/>
            <a:cxnLst/>
            <a:rect l="l" t="t" r="r" b="b"/>
            <a:pathLst>
              <a:path w="420319" h="261632">
                <a:moveTo>
                  <a:pt x="0" y="261632"/>
                </a:moveTo>
                <a:lnTo>
                  <a:pt x="420319" y="261632"/>
                </a:lnTo>
                <a:lnTo>
                  <a:pt x="420319" y="0"/>
                </a:lnTo>
                <a:lnTo>
                  <a:pt x="0" y="0"/>
                </a:lnTo>
                <a:lnTo>
                  <a:pt x="0" y="261632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6" name="object 206"/>
          <p:cNvSpPr/>
          <p:nvPr/>
        </p:nvSpPr>
        <p:spPr>
          <a:xfrm>
            <a:off x="2281174" y="2870477"/>
            <a:ext cx="420306" cy="195933"/>
          </a:xfrm>
          <a:custGeom>
            <a:avLst/>
            <a:gdLst/>
            <a:ahLst/>
            <a:cxnLst/>
            <a:rect l="l" t="t" r="r" b="b"/>
            <a:pathLst>
              <a:path w="420306" h="261607">
                <a:moveTo>
                  <a:pt x="0" y="261607"/>
                </a:moveTo>
                <a:lnTo>
                  <a:pt x="420306" y="261607"/>
                </a:lnTo>
                <a:lnTo>
                  <a:pt x="420306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7" name="object 207"/>
          <p:cNvSpPr/>
          <p:nvPr/>
        </p:nvSpPr>
        <p:spPr>
          <a:xfrm>
            <a:off x="2281174" y="2870477"/>
            <a:ext cx="420306" cy="195933"/>
          </a:xfrm>
          <a:custGeom>
            <a:avLst/>
            <a:gdLst/>
            <a:ahLst/>
            <a:cxnLst/>
            <a:rect l="l" t="t" r="r" b="b"/>
            <a:pathLst>
              <a:path w="420306" h="261607">
                <a:moveTo>
                  <a:pt x="0" y="261607"/>
                </a:moveTo>
                <a:lnTo>
                  <a:pt x="420306" y="261607"/>
                </a:lnTo>
                <a:lnTo>
                  <a:pt x="420306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8" name="object 208"/>
          <p:cNvSpPr/>
          <p:nvPr/>
        </p:nvSpPr>
        <p:spPr>
          <a:xfrm>
            <a:off x="2856231" y="2870477"/>
            <a:ext cx="396265" cy="195933"/>
          </a:xfrm>
          <a:custGeom>
            <a:avLst/>
            <a:gdLst/>
            <a:ahLst/>
            <a:cxnLst/>
            <a:rect l="l" t="t" r="r" b="b"/>
            <a:pathLst>
              <a:path w="396265" h="261607">
                <a:moveTo>
                  <a:pt x="0" y="261607"/>
                </a:moveTo>
                <a:lnTo>
                  <a:pt x="396265" y="261607"/>
                </a:lnTo>
                <a:lnTo>
                  <a:pt x="396265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9" name="object 209"/>
          <p:cNvSpPr/>
          <p:nvPr/>
        </p:nvSpPr>
        <p:spPr>
          <a:xfrm>
            <a:off x="2856231" y="2870477"/>
            <a:ext cx="396265" cy="195933"/>
          </a:xfrm>
          <a:custGeom>
            <a:avLst/>
            <a:gdLst/>
            <a:ahLst/>
            <a:cxnLst/>
            <a:rect l="l" t="t" r="r" b="b"/>
            <a:pathLst>
              <a:path w="396265" h="261607">
                <a:moveTo>
                  <a:pt x="0" y="261607"/>
                </a:moveTo>
                <a:lnTo>
                  <a:pt x="396265" y="261607"/>
                </a:lnTo>
                <a:lnTo>
                  <a:pt x="396265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0" name="object 210"/>
          <p:cNvSpPr/>
          <p:nvPr/>
        </p:nvSpPr>
        <p:spPr>
          <a:xfrm>
            <a:off x="3393187" y="2870477"/>
            <a:ext cx="396265" cy="195933"/>
          </a:xfrm>
          <a:custGeom>
            <a:avLst/>
            <a:gdLst/>
            <a:ahLst/>
            <a:cxnLst/>
            <a:rect l="l" t="t" r="r" b="b"/>
            <a:pathLst>
              <a:path w="396265" h="261607">
                <a:moveTo>
                  <a:pt x="0" y="261607"/>
                </a:moveTo>
                <a:lnTo>
                  <a:pt x="396265" y="261607"/>
                </a:lnTo>
                <a:lnTo>
                  <a:pt x="396265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1" name="object 211"/>
          <p:cNvSpPr/>
          <p:nvPr/>
        </p:nvSpPr>
        <p:spPr>
          <a:xfrm>
            <a:off x="3393187" y="2870477"/>
            <a:ext cx="396265" cy="195933"/>
          </a:xfrm>
          <a:custGeom>
            <a:avLst/>
            <a:gdLst/>
            <a:ahLst/>
            <a:cxnLst/>
            <a:rect l="l" t="t" r="r" b="b"/>
            <a:pathLst>
              <a:path w="396265" h="261607">
                <a:moveTo>
                  <a:pt x="0" y="261607"/>
                </a:moveTo>
                <a:lnTo>
                  <a:pt x="396265" y="261607"/>
                </a:lnTo>
                <a:lnTo>
                  <a:pt x="396265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ln w="952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2" name="object 212"/>
          <p:cNvSpPr/>
          <p:nvPr/>
        </p:nvSpPr>
        <p:spPr>
          <a:xfrm>
            <a:off x="3978783" y="2858492"/>
            <a:ext cx="420306" cy="195933"/>
          </a:xfrm>
          <a:custGeom>
            <a:avLst/>
            <a:gdLst/>
            <a:ahLst/>
            <a:cxnLst/>
            <a:rect l="l" t="t" r="r" b="b"/>
            <a:pathLst>
              <a:path w="420306" h="261607">
                <a:moveTo>
                  <a:pt x="0" y="261607"/>
                </a:moveTo>
                <a:lnTo>
                  <a:pt x="420306" y="261607"/>
                </a:lnTo>
                <a:lnTo>
                  <a:pt x="420306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3" name="object 213"/>
          <p:cNvSpPr/>
          <p:nvPr/>
        </p:nvSpPr>
        <p:spPr>
          <a:xfrm>
            <a:off x="3978783" y="2858492"/>
            <a:ext cx="420306" cy="195933"/>
          </a:xfrm>
          <a:custGeom>
            <a:avLst/>
            <a:gdLst/>
            <a:ahLst/>
            <a:cxnLst/>
            <a:rect l="l" t="t" r="r" b="b"/>
            <a:pathLst>
              <a:path w="420306" h="261607">
                <a:moveTo>
                  <a:pt x="0" y="261607"/>
                </a:moveTo>
                <a:lnTo>
                  <a:pt x="420306" y="261607"/>
                </a:lnTo>
                <a:lnTo>
                  <a:pt x="420306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4" name="object 214"/>
          <p:cNvSpPr/>
          <p:nvPr/>
        </p:nvSpPr>
        <p:spPr>
          <a:xfrm>
            <a:off x="5620639" y="2858492"/>
            <a:ext cx="420306" cy="195933"/>
          </a:xfrm>
          <a:custGeom>
            <a:avLst/>
            <a:gdLst/>
            <a:ahLst/>
            <a:cxnLst/>
            <a:rect l="l" t="t" r="r" b="b"/>
            <a:pathLst>
              <a:path w="420306" h="261607">
                <a:moveTo>
                  <a:pt x="0" y="261607"/>
                </a:moveTo>
                <a:lnTo>
                  <a:pt x="420306" y="261607"/>
                </a:lnTo>
                <a:lnTo>
                  <a:pt x="420306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5" name="object 215"/>
          <p:cNvSpPr/>
          <p:nvPr/>
        </p:nvSpPr>
        <p:spPr>
          <a:xfrm>
            <a:off x="5620639" y="2858492"/>
            <a:ext cx="420306" cy="195933"/>
          </a:xfrm>
          <a:custGeom>
            <a:avLst/>
            <a:gdLst/>
            <a:ahLst/>
            <a:cxnLst/>
            <a:rect l="l" t="t" r="r" b="b"/>
            <a:pathLst>
              <a:path w="420306" h="261607">
                <a:moveTo>
                  <a:pt x="0" y="261607"/>
                </a:moveTo>
                <a:lnTo>
                  <a:pt x="420306" y="261607"/>
                </a:lnTo>
                <a:lnTo>
                  <a:pt x="420306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6" name="object 216"/>
          <p:cNvSpPr/>
          <p:nvPr/>
        </p:nvSpPr>
        <p:spPr>
          <a:xfrm>
            <a:off x="4486783" y="2858492"/>
            <a:ext cx="420306" cy="195933"/>
          </a:xfrm>
          <a:custGeom>
            <a:avLst/>
            <a:gdLst/>
            <a:ahLst/>
            <a:cxnLst/>
            <a:rect l="l" t="t" r="r" b="b"/>
            <a:pathLst>
              <a:path w="420306" h="261607">
                <a:moveTo>
                  <a:pt x="0" y="261607"/>
                </a:moveTo>
                <a:lnTo>
                  <a:pt x="420306" y="261607"/>
                </a:lnTo>
                <a:lnTo>
                  <a:pt x="420306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7" name="object 217"/>
          <p:cNvSpPr/>
          <p:nvPr/>
        </p:nvSpPr>
        <p:spPr>
          <a:xfrm>
            <a:off x="4486783" y="2858492"/>
            <a:ext cx="420306" cy="195933"/>
          </a:xfrm>
          <a:custGeom>
            <a:avLst/>
            <a:gdLst/>
            <a:ahLst/>
            <a:cxnLst/>
            <a:rect l="l" t="t" r="r" b="b"/>
            <a:pathLst>
              <a:path w="420306" h="261607">
                <a:moveTo>
                  <a:pt x="0" y="261607"/>
                </a:moveTo>
                <a:lnTo>
                  <a:pt x="420306" y="261607"/>
                </a:lnTo>
                <a:lnTo>
                  <a:pt x="420306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8" name="object 218"/>
          <p:cNvSpPr/>
          <p:nvPr/>
        </p:nvSpPr>
        <p:spPr>
          <a:xfrm>
            <a:off x="5071111" y="2858492"/>
            <a:ext cx="396265" cy="195933"/>
          </a:xfrm>
          <a:custGeom>
            <a:avLst/>
            <a:gdLst/>
            <a:ahLst/>
            <a:cxnLst/>
            <a:rect l="l" t="t" r="r" b="b"/>
            <a:pathLst>
              <a:path w="396265" h="261607">
                <a:moveTo>
                  <a:pt x="0" y="261607"/>
                </a:moveTo>
                <a:lnTo>
                  <a:pt x="396265" y="261607"/>
                </a:lnTo>
                <a:lnTo>
                  <a:pt x="396265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9" name="object 219"/>
          <p:cNvSpPr/>
          <p:nvPr/>
        </p:nvSpPr>
        <p:spPr>
          <a:xfrm>
            <a:off x="5071111" y="2858492"/>
            <a:ext cx="396265" cy="195933"/>
          </a:xfrm>
          <a:custGeom>
            <a:avLst/>
            <a:gdLst/>
            <a:ahLst/>
            <a:cxnLst/>
            <a:rect l="l" t="t" r="r" b="b"/>
            <a:pathLst>
              <a:path w="396265" h="261607">
                <a:moveTo>
                  <a:pt x="0" y="261607"/>
                </a:moveTo>
                <a:lnTo>
                  <a:pt x="396265" y="261607"/>
                </a:lnTo>
                <a:lnTo>
                  <a:pt x="396265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ln w="952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0" name="object 220"/>
          <p:cNvSpPr/>
          <p:nvPr/>
        </p:nvSpPr>
        <p:spPr>
          <a:xfrm>
            <a:off x="7298183" y="2857922"/>
            <a:ext cx="396265" cy="195933"/>
          </a:xfrm>
          <a:custGeom>
            <a:avLst/>
            <a:gdLst/>
            <a:ahLst/>
            <a:cxnLst/>
            <a:rect l="l" t="t" r="r" b="b"/>
            <a:pathLst>
              <a:path w="396265" h="261607">
                <a:moveTo>
                  <a:pt x="0" y="261607"/>
                </a:moveTo>
                <a:lnTo>
                  <a:pt x="396265" y="261607"/>
                </a:lnTo>
                <a:lnTo>
                  <a:pt x="396265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1" name="object 221"/>
          <p:cNvSpPr/>
          <p:nvPr/>
        </p:nvSpPr>
        <p:spPr>
          <a:xfrm>
            <a:off x="7298183" y="2857922"/>
            <a:ext cx="396265" cy="195933"/>
          </a:xfrm>
          <a:custGeom>
            <a:avLst/>
            <a:gdLst/>
            <a:ahLst/>
            <a:cxnLst/>
            <a:rect l="l" t="t" r="r" b="b"/>
            <a:pathLst>
              <a:path w="396265" h="261607">
                <a:moveTo>
                  <a:pt x="0" y="261607"/>
                </a:moveTo>
                <a:lnTo>
                  <a:pt x="396265" y="261607"/>
                </a:lnTo>
                <a:lnTo>
                  <a:pt x="396265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ln w="952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2" name="object 222"/>
          <p:cNvSpPr/>
          <p:nvPr/>
        </p:nvSpPr>
        <p:spPr>
          <a:xfrm>
            <a:off x="7868794" y="2865626"/>
            <a:ext cx="396265" cy="195933"/>
          </a:xfrm>
          <a:custGeom>
            <a:avLst/>
            <a:gdLst/>
            <a:ahLst/>
            <a:cxnLst/>
            <a:rect l="l" t="t" r="r" b="b"/>
            <a:pathLst>
              <a:path w="396265" h="261607">
                <a:moveTo>
                  <a:pt x="0" y="261607"/>
                </a:moveTo>
                <a:lnTo>
                  <a:pt x="396265" y="261607"/>
                </a:lnTo>
                <a:lnTo>
                  <a:pt x="396265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3" name="object 223"/>
          <p:cNvSpPr/>
          <p:nvPr/>
        </p:nvSpPr>
        <p:spPr>
          <a:xfrm>
            <a:off x="7868794" y="2865626"/>
            <a:ext cx="396265" cy="195933"/>
          </a:xfrm>
          <a:custGeom>
            <a:avLst/>
            <a:gdLst/>
            <a:ahLst/>
            <a:cxnLst/>
            <a:rect l="l" t="t" r="r" b="b"/>
            <a:pathLst>
              <a:path w="396265" h="261607">
                <a:moveTo>
                  <a:pt x="0" y="261607"/>
                </a:moveTo>
                <a:lnTo>
                  <a:pt x="396265" y="261607"/>
                </a:lnTo>
                <a:lnTo>
                  <a:pt x="396265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ln w="952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4" name="object 224"/>
          <p:cNvSpPr/>
          <p:nvPr/>
        </p:nvSpPr>
        <p:spPr>
          <a:xfrm>
            <a:off x="6748526" y="2862297"/>
            <a:ext cx="420306" cy="195933"/>
          </a:xfrm>
          <a:custGeom>
            <a:avLst/>
            <a:gdLst/>
            <a:ahLst/>
            <a:cxnLst/>
            <a:rect l="l" t="t" r="r" b="b"/>
            <a:pathLst>
              <a:path w="420306" h="261607">
                <a:moveTo>
                  <a:pt x="0" y="261607"/>
                </a:moveTo>
                <a:lnTo>
                  <a:pt x="420306" y="261607"/>
                </a:lnTo>
                <a:lnTo>
                  <a:pt x="420306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5" name="object 225"/>
          <p:cNvSpPr/>
          <p:nvPr/>
        </p:nvSpPr>
        <p:spPr>
          <a:xfrm>
            <a:off x="6748526" y="2862297"/>
            <a:ext cx="420306" cy="195933"/>
          </a:xfrm>
          <a:custGeom>
            <a:avLst/>
            <a:gdLst/>
            <a:ahLst/>
            <a:cxnLst/>
            <a:rect l="l" t="t" r="r" b="b"/>
            <a:pathLst>
              <a:path w="420306" h="261607">
                <a:moveTo>
                  <a:pt x="0" y="261607"/>
                </a:moveTo>
                <a:lnTo>
                  <a:pt x="420306" y="261607"/>
                </a:lnTo>
                <a:lnTo>
                  <a:pt x="420306" y="0"/>
                </a:lnTo>
                <a:lnTo>
                  <a:pt x="0" y="0"/>
                </a:lnTo>
                <a:lnTo>
                  <a:pt x="0" y="261607"/>
                </a:lnTo>
                <a:close/>
              </a:path>
            </a:pathLst>
          </a:custGeom>
          <a:ln w="9524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27" name="object 127"/>
          <p:cNvSpPr txBox="1"/>
          <p:nvPr/>
        </p:nvSpPr>
        <p:spPr>
          <a:xfrm>
            <a:off x="285089" y="278712"/>
            <a:ext cx="7213414" cy="4679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r>
              <a:rPr lang="fr-BE" sz="2000" spc="-4" dirty="0" err="1" smtClean="0">
                <a:solidFill>
                  <a:srgbClr val="DD1812"/>
                </a:solidFill>
                <a:latin typeface="Arial"/>
                <a:cs typeface="Arial"/>
              </a:rPr>
              <a:t>Discrepancies</a:t>
            </a:r>
            <a:r>
              <a:rPr lang="fr-BE" sz="2000" spc="-4" dirty="0" smtClean="0">
                <a:solidFill>
                  <a:srgbClr val="DD1812"/>
                </a:solidFill>
                <a:latin typeface="Arial"/>
                <a:cs typeface="Arial"/>
              </a:rPr>
              <a:t> </a:t>
            </a:r>
            <a:r>
              <a:rPr lang="fr-BE" sz="2000" spc="-4" dirty="0" err="1" smtClean="0">
                <a:solidFill>
                  <a:srgbClr val="DD1812"/>
                </a:solidFill>
                <a:latin typeface="Arial"/>
                <a:cs typeface="Arial"/>
              </a:rPr>
              <a:t>between</a:t>
            </a:r>
            <a:r>
              <a:rPr lang="fr-BE" sz="2000" spc="-4" dirty="0" smtClean="0">
                <a:solidFill>
                  <a:srgbClr val="DD1812"/>
                </a:solidFill>
                <a:latin typeface="Arial"/>
                <a:cs typeface="Arial"/>
              </a:rPr>
              <a:t> </a:t>
            </a:r>
            <a:r>
              <a:rPr lang="fr-BE" sz="2000" spc="-4" dirty="0" err="1" smtClean="0">
                <a:solidFill>
                  <a:srgbClr val="DD1812"/>
                </a:solidFill>
                <a:latin typeface="Arial"/>
                <a:cs typeface="Arial"/>
              </a:rPr>
              <a:t>planned</a:t>
            </a:r>
            <a:r>
              <a:rPr lang="fr-BE" sz="2000" spc="-4" dirty="0" smtClean="0">
                <a:solidFill>
                  <a:srgbClr val="DD1812"/>
                </a:solidFill>
                <a:latin typeface="Arial"/>
                <a:cs typeface="Arial"/>
              </a:rPr>
              <a:t> </a:t>
            </a:r>
            <a:r>
              <a:rPr lang="fr-BE" sz="2000" spc="-4" dirty="0" smtClean="0">
                <a:solidFill>
                  <a:srgbClr val="DD1812"/>
                </a:solidFill>
                <a:latin typeface="Arial"/>
                <a:cs typeface="Arial"/>
              </a:rPr>
              <a:t>and real </a:t>
            </a:r>
            <a:r>
              <a:rPr lang="fr-BE" sz="2000" spc="-4" dirty="0" err="1" smtClean="0">
                <a:solidFill>
                  <a:srgbClr val="DD1812"/>
                </a:solidFill>
                <a:latin typeface="Arial"/>
                <a:cs typeface="Arial"/>
              </a:rPr>
              <a:t>circulating</a:t>
            </a:r>
            <a:r>
              <a:rPr lang="fr-BE" sz="2000" spc="-4" dirty="0" smtClean="0">
                <a:solidFill>
                  <a:srgbClr val="DD1812"/>
                </a:solidFill>
                <a:latin typeface="Arial"/>
                <a:cs typeface="Arial"/>
              </a:rPr>
              <a:t> B </a:t>
            </a:r>
            <a:r>
              <a:rPr lang="fr-BE" sz="2000" spc="-4" dirty="0" err="1" smtClean="0">
                <a:solidFill>
                  <a:srgbClr val="DD1812"/>
                </a:solidFill>
                <a:latin typeface="Arial"/>
                <a:cs typeface="Arial"/>
              </a:rPr>
              <a:t>strain</a:t>
            </a:r>
            <a:r>
              <a:rPr lang="fr-BE" sz="2000" spc="-4" dirty="0" smtClean="0">
                <a:solidFill>
                  <a:srgbClr val="DD1812"/>
                </a:solidFill>
                <a:latin typeface="Arial"/>
                <a:cs typeface="Arial"/>
              </a:rPr>
              <a:t>….</a:t>
            </a:r>
            <a:endParaRPr sz="20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4" name="object 124"/>
          <p:cNvSpPr txBox="1"/>
          <p:nvPr/>
        </p:nvSpPr>
        <p:spPr>
          <a:xfrm>
            <a:off x="763310" y="507371"/>
            <a:ext cx="1617602" cy="2096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endParaRPr sz="20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3" name="object 123"/>
          <p:cNvSpPr txBox="1"/>
          <p:nvPr/>
        </p:nvSpPr>
        <p:spPr>
          <a:xfrm>
            <a:off x="2384781" y="507371"/>
            <a:ext cx="1417813" cy="2096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endParaRPr sz="20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2" name="object 122"/>
          <p:cNvSpPr txBox="1"/>
          <p:nvPr/>
        </p:nvSpPr>
        <p:spPr>
          <a:xfrm>
            <a:off x="3809771" y="507371"/>
            <a:ext cx="1149307" cy="2096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endParaRPr sz="20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1" name="object 121"/>
          <p:cNvSpPr txBox="1"/>
          <p:nvPr/>
        </p:nvSpPr>
        <p:spPr>
          <a:xfrm>
            <a:off x="4966255" y="507371"/>
            <a:ext cx="1433592" cy="2096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endParaRPr sz="20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0" name="object 120"/>
          <p:cNvSpPr txBox="1"/>
          <p:nvPr/>
        </p:nvSpPr>
        <p:spPr>
          <a:xfrm>
            <a:off x="6404226" y="507371"/>
            <a:ext cx="1012891" cy="20964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50"/>
              </a:lnSpc>
              <a:spcBef>
                <a:spcPts val="107"/>
              </a:spcBef>
            </a:pPr>
            <a:endParaRPr sz="20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9" name="object 119"/>
          <p:cNvSpPr txBox="1"/>
          <p:nvPr/>
        </p:nvSpPr>
        <p:spPr>
          <a:xfrm>
            <a:off x="2479040" y="1090187"/>
            <a:ext cx="1082446" cy="1902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pc="-134" dirty="0" smtClean="0">
                <a:solidFill>
                  <a:prstClr val="black"/>
                </a:solidFill>
                <a:latin typeface="Arial"/>
                <a:cs typeface="Arial"/>
              </a:rPr>
              <a:t>Y</a:t>
            </a:r>
            <a:r>
              <a:rPr dirty="0" smtClean="0">
                <a:solidFill>
                  <a:prstClr val="black"/>
                </a:solidFill>
                <a:latin typeface="Arial"/>
                <a:cs typeface="Arial"/>
              </a:rPr>
              <a:t>am</a:t>
            </a:r>
            <a:r>
              <a:rPr spc="-9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dirty="0" smtClean="0">
                <a:solidFill>
                  <a:prstClr val="black"/>
                </a:solidFill>
                <a:latin typeface="Arial"/>
                <a:cs typeface="Arial"/>
              </a:rPr>
              <a:t>g</a:t>
            </a:r>
            <a:r>
              <a:rPr spc="-9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dirty="0" smtClean="0">
                <a:solidFill>
                  <a:prstClr val="black"/>
                </a:solidFill>
                <a:latin typeface="Arial"/>
                <a:cs typeface="Arial"/>
              </a:rPr>
              <a:t>ta</a:t>
            </a:r>
            <a:endParaRPr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3883915" y="1090188"/>
            <a:ext cx="816355" cy="27767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0"/>
              </a:lnSpc>
              <a:spcBef>
                <a:spcPts val="96"/>
              </a:spcBef>
            </a:pPr>
            <a:r>
              <a:rPr spc="-34" dirty="0" smtClean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dirty="0" smtClean="0">
                <a:solidFill>
                  <a:prstClr val="black"/>
                </a:solidFill>
                <a:latin typeface="Arial"/>
                <a:cs typeface="Arial"/>
              </a:rPr>
              <a:t>ictor</a:t>
            </a:r>
            <a:r>
              <a:rPr spc="-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endParaRPr>
              <a:solidFill>
                <a:prstClr val="black"/>
              </a:solidFill>
              <a:latin typeface="Arial"/>
              <a:cs typeface="Arial"/>
            </a:endParaRPr>
          </a:p>
          <a:p>
            <a:pPr marL="218059" marR="34289">
              <a:lnSpc>
                <a:spcPts val="910"/>
              </a:lnSpc>
            </a:pPr>
            <a:r>
              <a:rPr sz="900" dirty="0" smtClean="0">
                <a:solidFill>
                  <a:srgbClr val="685D54"/>
                </a:solidFill>
                <a:latin typeface="Arial"/>
                <a:cs typeface="Arial"/>
              </a:rPr>
              <a:t>†</a:t>
            </a:r>
            <a:endParaRPr sz="9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7" name="object 117"/>
          <p:cNvSpPr txBox="1"/>
          <p:nvPr/>
        </p:nvSpPr>
        <p:spPr>
          <a:xfrm>
            <a:off x="2971039" y="1233271"/>
            <a:ext cx="106095" cy="1046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srgbClr val="685D54"/>
                </a:solidFill>
                <a:latin typeface="Arial"/>
                <a:cs typeface="Arial"/>
              </a:rPr>
              <a:t>†</a:t>
            </a:r>
            <a:endParaRPr sz="9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6" name="object 116"/>
          <p:cNvSpPr txBox="1"/>
          <p:nvPr/>
        </p:nvSpPr>
        <p:spPr>
          <a:xfrm>
            <a:off x="4648962" y="1233939"/>
            <a:ext cx="134650" cy="170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*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5" name="object 115"/>
          <p:cNvSpPr txBox="1"/>
          <p:nvPr/>
        </p:nvSpPr>
        <p:spPr>
          <a:xfrm>
            <a:off x="2427860" y="1245929"/>
            <a:ext cx="134815" cy="1710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5"/>
              </a:lnSpc>
              <a:spcBef>
                <a:spcPts val="86"/>
              </a:spcBef>
            </a:pPr>
            <a:r>
              <a:rPr sz="1600" b="1" dirty="0" smtClean="0">
                <a:solidFill>
                  <a:srgbClr val="685D54"/>
                </a:solidFill>
                <a:latin typeface="Arial"/>
                <a:cs typeface="Arial"/>
              </a:rPr>
              <a:t>*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4" name="object 114"/>
          <p:cNvSpPr txBox="1"/>
          <p:nvPr/>
        </p:nvSpPr>
        <p:spPr>
          <a:xfrm>
            <a:off x="3514090" y="1248587"/>
            <a:ext cx="134650" cy="1708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*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3" name="object 113"/>
          <p:cNvSpPr txBox="1"/>
          <p:nvPr/>
        </p:nvSpPr>
        <p:spPr>
          <a:xfrm>
            <a:off x="5772405" y="1245929"/>
            <a:ext cx="134815" cy="1710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5"/>
              </a:lnSpc>
              <a:spcBef>
                <a:spcPts val="86"/>
              </a:spcBef>
            </a:pPr>
            <a:r>
              <a:rPr sz="1600" b="1" dirty="0" smtClean="0">
                <a:solidFill>
                  <a:srgbClr val="685D54"/>
                </a:solidFill>
                <a:latin typeface="Arial"/>
                <a:cs typeface="Arial"/>
              </a:rPr>
              <a:t>*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2" name="object 112"/>
          <p:cNvSpPr txBox="1"/>
          <p:nvPr/>
        </p:nvSpPr>
        <p:spPr>
          <a:xfrm>
            <a:off x="6888226" y="1264565"/>
            <a:ext cx="106095" cy="1046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srgbClr val="685D54"/>
                </a:solidFill>
                <a:latin typeface="Arial"/>
                <a:cs typeface="Arial"/>
              </a:rPr>
              <a:t>†</a:t>
            </a:r>
            <a:endParaRPr sz="9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1" name="object 111"/>
          <p:cNvSpPr txBox="1"/>
          <p:nvPr/>
        </p:nvSpPr>
        <p:spPr>
          <a:xfrm>
            <a:off x="833120" y="1309149"/>
            <a:ext cx="643001" cy="26351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18364" algn="ctr">
              <a:lnSpc>
                <a:spcPts val="1939"/>
              </a:lnSpc>
              <a:spcBef>
                <a:spcPts val="97"/>
              </a:spcBef>
            </a:pPr>
            <a:r>
              <a:rPr sz="1200" spc="-4" dirty="0" smtClean="0">
                <a:solidFill>
                  <a:prstClr val="black"/>
                </a:solidFill>
                <a:latin typeface="Arial"/>
                <a:cs typeface="Arial"/>
              </a:rPr>
              <a:t>100%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09042" marR="18669" algn="ctr">
              <a:lnSpc>
                <a:spcPct val="95825"/>
              </a:lnSpc>
              <a:spcBef>
                <a:spcPts val="403"/>
              </a:spcBef>
            </a:pPr>
            <a:r>
              <a:rPr sz="1200" spc="-4" dirty="0" smtClean="0">
                <a:solidFill>
                  <a:prstClr val="black"/>
                </a:solidFill>
                <a:latin typeface="Arial"/>
                <a:cs typeface="Arial"/>
              </a:rPr>
              <a:t>90%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09042" marR="18669" algn="ctr">
              <a:lnSpc>
                <a:spcPct val="95825"/>
              </a:lnSpc>
              <a:spcBef>
                <a:spcPts val="500"/>
              </a:spcBef>
            </a:pPr>
            <a:r>
              <a:rPr sz="1200" spc="-4" dirty="0" smtClean="0">
                <a:solidFill>
                  <a:prstClr val="black"/>
                </a:solidFill>
                <a:latin typeface="Arial"/>
                <a:cs typeface="Arial"/>
              </a:rPr>
              <a:t>80%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09042" marR="18669" algn="ctr">
              <a:lnSpc>
                <a:spcPct val="95825"/>
              </a:lnSpc>
              <a:spcBef>
                <a:spcPts val="501"/>
              </a:spcBef>
            </a:pPr>
            <a:r>
              <a:rPr sz="1200" spc="-4" dirty="0" smtClean="0">
                <a:solidFill>
                  <a:prstClr val="black"/>
                </a:solidFill>
                <a:latin typeface="Arial"/>
                <a:cs typeface="Arial"/>
              </a:rPr>
              <a:t>70%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09042" marR="18669" algn="ctr">
              <a:lnSpc>
                <a:spcPct val="95825"/>
              </a:lnSpc>
              <a:spcBef>
                <a:spcPts val="500"/>
              </a:spcBef>
            </a:pPr>
            <a:r>
              <a:rPr sz="1200" spc="-4" dirty="0" smtClean="0">
                <a:solidFill>
                  <a:prstClr val="black"/>
                </a:solidFill>
                <a:latin typeface="Arial"/>
                <a:cs typeface="Arial"/>
              </a:rPr>
              <a:t>60%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09042" marR="18669" algn="ctr">
              <a:lnSpc>
                <a:spcPct val="95825"/>
              </a:lnSpc>
              <a:spcBef>
                <a:spcPts val="501"/>
              </a:spcBef>
            </a:pPr>
            <a:r>
              <a:rPr sz="1200" spc="-4" dirty="0" smtClean="0">
                <a:solidFill>
                  <a:prstClr val="black"/>
                </a:solidFill>
                <a:latin typeface="Arial"/>
                <a:cs typeface="Arial"/>
              </a:rPr>
              <a:t>50%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09042" marR="18669" algn="ctr">
              <a:lnSpc>
                <a:spcPct val="95825"/>
              </a:lnSpc>
              <a:spcBef>
                <a:spcPts val="500"/>
              </a:spcBef>
            </a:pPr>
            <a:r>
              <a:rPr sz="1200" spc="-4" dirty="0" smtClean="0">
                <a:solidFill>
                  <a:prstClr val="black"/>
                </a:solidFill>
                <a:latin typeface="Arial"/>
                <a:cs typeface="Arial"/>
              </a:rPr>
              <a:t>40%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09042" marR="18669" algn="ctr">
              <a:lnSpc>
                <a:spcPct val="95825"/>
              </a:lnSpc>
              <a:spcBef>
                <a:spcPts val="500"/>
              </a:spcBef>
            </a:pPr>
            <a:r>
              <a:rPr sz="1200" spc="-4" dirty="0" smtClean="0">
                <a:solidFill>
                  <a:prstClr val="black"/>
                </a:solidFill>
                <a:latin typeface="Arial"/>
                <a:cs typeface="Arial"/>
              </a:rPr>
              <a:t>30%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09042" marR="18669" algn="ctr">
              <a:lnSpc>
                <a:spcPct val="95825"/>
              </a:lnSpc>
              <a:spcBef>
                <a:spcPts val="501"/>
              </a:spcBef>
            </a:pPr>
            <a:r>
              <a:rPr sz="1200" spc="-4" dirty="0" smtClean="0">
                <a:solidFill>
                  <a:prstClr val="black"/>
                </a:solidFill>
                <a:latin typeface="Arial"/>
                <a:cs typeface="Arial"/>
              </a:rPr>
              <a:t>20%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09042" marR="18669" algn="ctr">
              <a:lnSpc>
                <a:spcPct val="95825"/>
              </a:lnSpc>
              <a:spcBef>
                <a:spcPts val="500"/>
              </a:spcBef>
            </a:pPr>
            <a:r>
              <a:rPr sz="1200" spc="-4" dirty="0" smtClean="0">
                <a:solidFill>
                  <a:prstClr val="black"/>
                </a:solidFill>
                <a:latin typeface="Arial"/>
                <a:cs typeface="Arial"/>
              </a:rPr>
              <a:t>10%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266293">
              <a:lnSpc>
                <a:spcPct val="95825"/>
              </a:lnSpc>
              <a:spcBef>
                <a:spcPts val="501"/>
              </a:spcBef>
            </a:pPr>
            <a:r>
              <a:rPr sz="1200" dirty="0" smtClean="0">
                <a:solidFill>
                  <a:prstClr val="black"/>
                </a:solidFill>
                <a:latin typeface="Arial"/>
                <a:cs typeface="Arial"/>
              </a:rPr>
              <a:t>0%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0" name="object 110"/>
          <p:cNvSpPr txBox="1"/>
          <p:nvPr/>
        </p:nvSpPr>
        <p:spPr>
          <a:xfrm>
            <a:off x="8368411" y="2817993"/>
            <a:ext cx="673727" cy="3123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lang="fr-BE" sz="1400" spc="-109" dirty="0" smtClean="0">
                <a:solidFill>
                  <a:srgbClr val="685D54"/>
                </a:solidFill>
                <a:latin typeface="Arial"/>
                <a:cs typeface="Arial"/>
              </a:rPr>
              <a:t>type souche B</a:t>
            </a:r>
            <a:endParaRPr sz="14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316788" y="5445224"/>
            <a:ext cx="7812390" cy="9361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23875">
              <a:lnSpc>
                <a:spcPts val="1785"/>
              </a:lnSpc>
              <a:spcBef>
                <a:spcPts val="89"/>
              </a:spcBef>
            </a:pPr>
            <a:r>
              <a:rPr sz="1600" b="1" spc="4" dirty="0" smtClean="0">
                <a:solidFill>
                  <a:srgbClr val="685D54"/>
                </a:solidFill>
                <a:latin typeface="Arial"/>
                <a:cs typeface="Arial"/>
              </a:rPr>
              <a:t>*</a:t>
            </a:r>
            <a:r>
              <a:rPr sz="1600" spc="-114" dirty="0" smtClean="0">
                <a:solidFill>
                  <a:srgbClr val="685D54"/>
                </a:solidFill>
                <a:latin typeface="Arial"/>
                <a:cs typeface="Arial"/>
              </a:rPr>
              <a:t>V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a</a:t>
            </a:r>
            <a:r>
              <a:rPr sz="1600" spc="4" dirty="0" smtClean="0">
                <a:solidFill>
                  <a:srgbClr val="685D54"/>
                </a:solidFill>
                <a:latin typeface="Arial"/>
                <a:cs typeface="Arial"/>
              </a:rPr>
              <a:t>cci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ne</a:t>
            </a:r>
            <a:r>
              <a:rPr sz="1600" spc="-83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m</a:t>
            </a:r>
            <a:r>
              <a:rPr sz="1600" spc="4" dirty="0" smtClean="0">
                <a:solidFill>
                  <a:srgbClr val="685D54"/>
                </a:solidFill>
                <a:latin typeface="Arial"/>
                <a:cs typeface="Arial"/>
              </a:rPr>
              <a:t>is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mat</a:t>
            </a:r>
            <a:r>
              <a:rPr sz="1600" spc="9" dirty="0" smtClean="0">
                <a:solidFill>
                  <a:srgbClr val="685D54"/>
                </a:solidFill>
                <a:latin typeface="Arial"/>
                <a:cs typeface="Arial"/>
              </a:rPr>
              <a:t>c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h</a:t>
            </a:r>
            <a:r>
              <a:rPr sz="1600" spc="-68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(&gt;60%</a:t>
            </a:r>
            <a:r>
              <a:rPr sz="1600" spc="-21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m</a:t>
            </a:r>
            <a:r>
              <a:rPr sz="1600" spc="4" dirty="0" smtClean="0">
                <a:solidFill>
                  <a:srgbClr val="685D54"/>
                </a:solidFill>
                <a:latin typeface="Arial"/>
                <a:cs typeface="Arial"/>
              </a:rPr>
              <a:t>is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mat</a:t>
            </a:r>
            <a:r>
              <a:rPr sz="1600" spc="9" dirty="0" smtClean="0">
                <a:solidFill>
                  <a:srgbClr val="685D54"/>
                </a:solidFill>
                <a:latin typeface="Arial"/>
                <a:cs typeface="Arial"/>
              </a:rPr>
              <a:t>c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h);</a:t>
            </a:r>
            <a:r>
              <a:rPr sz="1600" spc="-38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sz="1575" spc="-4" baseline="24846" dirty="0" smtClean="0">
                <a:solidFill>
                  <a:srgbClr val="685D54"/>
                </a:solidFill>
                <a:latin typeface="Arial"/>
                <a:cs typeface="Arial"/>
              </a:rPr>
              <a:t>†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Part</a:t>
            </a:r>
            <a:r>
              <a:rPr sz="1600" spc="4" dirty="0" smtClean="0">
                <a:solidFill>
                  <a:srgbClr val="685D54"/>
                </a:solidFill>
                <a:latin typeface="Arial"/>
                <a:cs typeface="Arial"/>
              </a:rPr>
              <a:t>i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al</a:t>
            </a:r>
            <a:r>
              <a:rPr sz="1600" spc="-44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sz="1600" spc="4" dirty="0" smtClean="0">
                <a:solidFill>
                  <a:srgbClr val="685D54"/>
                </a:solidFill>
                <a:latin typeface="Arial"/>
                <a:cs typeface="Arial"/>
              </a:rPr>
              <a:t>v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a</a:t>
            </a:r>
            <a:r>
              <a:rPr sz="1600" spc="4" dirty="0" smtClean="0">
                <a:solidFill>
                  <a:srgbClr val="685D54"/>
                </a:solidFill>
                <a:latin typeface="Arial"/>
                <a:cs typeface="Arial"/>
              </a:rPr>
              <a:t>cci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ne</a:t>
            </a:r>
            <a:r>
              <a:rPr sz="1600" spc="-64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m</a:t>
            </a:r>
            <a:r>
              <a:rPr sz="1600" spc="4" dirty="0" smtClean="0">
                <a:solidFill>
                  <a:srgbClr val="685D54"/>
                </a:solidFill>
                <a:latin typeface="Arial"/>
                <a:cs typeface="Arial"/>
              </a:rPr>
              <a:t>is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mat</a:t>
            </a:r>
            <a:r>
              <a:rPr sz="1600" spc="9" dirty="0" smtClean="0">
                <a:solidFill>
                  <a:srgbClr val="685D54"/>
                </a:solidFill>
                <a:latin typeface="Arial"/>
                <a:cs typeface="Arial"/>
              </a:rPr>
              <a:t>c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h</a:t>
            </a:r>
            <a:r>
              <a:rPr sz="1600" spc="-68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(&lt;80%</a:t>
            </a:r>
            <a:r>
              <a:rPr sz="1600" spc="-21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mat</a:t>
            </a:r>
            <a:r>
              <a:rPr sz="1600" spc="9" dirty="0" smtClean="0">
                <a:solidFill>
                  <a:srgbClr val="685D54"/>
                </a:solidFill>
                <a:latin typeface="Arial"/>
                <a:cs typeface="Arial"/>
              </a:rPr>
              <a:t>c</a:t>
            </a:r>
            <a:r>
              <a:rPr sz="1600" dirty="0" smtClean="0">
                <a:solidFill>
                  <a:srgbClr val="685D54"/>
                </a:solidFill>
                <a:latin typeface="Arial"/>
                <a:cs typeface="Arial"/>
              </a:rPr>
              <a:t>hed)</a:t>
            </a:r>
            <a:endParaRPr sz="16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55651" marR="31397">
              <a:lnSpc>
                <a:spcPct val="95825"/>
              </a:lnSpc>
            </a:pPr>
            <a:r>
              <a:rPr sz="1200" dirty="0" smtClean="0">
                <a:solidFill>
                  <a:srgbClr val="7E7E7E"/>
                </a:solidFill>
                <a:latin typeface="Arial"/>
                <a:cs typeface="Arial"/>
              </a:rPr>
              <a:t>VIC,</a:t>
            </a:r>
            <a:r>
              <a:rPr sz="1200" spc="-4" dirty="0" smtClean="0">
                <a:solidFill>
                  <a:srgbClr val="7E7E7E"/>
                </a:solidFill>
                <a:latin typeface="Arial"/>
                <a:cs typeface="Arial"/>
              </a:rPr>
              <a:t> </a:t>
            </a:r>
            <a:r>
              <a:rPr sz="1200" spc="-19" dirty="0" smtClean="0">
                <a:solidFill>
                  <a:srgbClr val="7E7E7E"/>
                </a:solidFill>
                <a:latin typeface="Arial"/>
                <a:cs typeface="Arial"/>
              </a:rPr>
              <a:t>V</a:t>
            </a:r>
            <a:r>
              <a:rPr sz="1200" dirty="0" smtClean="0">
                <a:solidFill>
                  <a:srgbClr val="7E7E7E"/>
                </a:solidFill>
                <a:latin typeface="Arial"/>
                <a:cs typeface="Arial"/>
              </a:rPr>
              <a:t>ict</a:t>
            </a:r>
            <a:r>
              <a:rPr sz="1200" spc="4" dirty="0" smtClean="0">
                <a:solidFill>
                  <a:srgbClr val="7E7E7E"/>
                </a:solidFill>
                <a:latin typeface="Arial"/>
                <a:cs typeface="Arial"/>
              </a:rPr>
              <a:t>o</a:t>
            </a:r>
            <a:r>
              <a:rPr sz="1200" dirty="0" smtClean="0">
                <a:solidFill>
                  <a:srgbClr val="7E7E7E"/>
                </a:solidFill>
                <a:latin typeface="Arial"/>
                <a:cs typeface="Arial"/>
              </a:rPr>
              <a:t>r</a:t>
            </a:r>
            <a:r>
              <a:rPr sz="1200" spc="-4" dirty="0" smtClean="0">
                <a:solidFill>
                  <a:srgbClr val="7E7E7E"/>
                </a:solidFill>
                <a:latin typeface="Arial"/>
                <a:cs typeface="Arial"/>
              </a:rPr>
              <a:t>i</a:t>
            </a:r>
            <a:r>
              <a:rPr sz="1200" dirty="0" smtClean="0">
                <a:solidFill>
                  <a:srgbClr val="7E7E7E"/>
                </a:solidFill>
                <a:latin typeface="Arial"/>
                <a:cs typeface="Arial"/>
              </a:rPr>
              <a:t>a</a:t>
            </a:r>
            <a:r>
              <a:rPr sz="1200" spc="-4" dirty="0" smtClean="0">
                <a:solidFill>
                  <a:srgbClr val="7E7E7E"/>
                </a:solidFill>
                <a:latin typeface="Arial"/>
                <a:cs typeface="Arial"/>
              </a:rPr>
              <a:t> </a:t>
            </a:r>
            <a:r>
              <a:rPr sz="1200" dirty="0" smtClean="0">
                <a:solidFill>
                  <a:srgbClr val="7E7E7E"/>
                </a:solidFill>
                <a:latin typeface="Arial"/>
                <a:cs typeface="Arial"/>
              </a:rPr>
              <a:t>l</a:t>
            </a:r>
            <a:r>
              <a:rPr sz="1200" spc="-4" dirty="0" smtClean="0">
                <a:solidFill>
                  <a:srgbClr val="7E7E7E"/>
                </a:solidFill>
                <a:latin typeface="Arial"/>
                <a:cs typeface="Arial"/>
              </a:rPr>
              <a:t>i</a:t>
            </a:r>
            <a:r>
              <a:rPr sz="1200" spc="4" dirty="0" smtClean="0">
                <a:solidFill>
                  <a:srgbClr val="7E7E7E"/>
                </a:solidFill>
                <a:latin typeface="Arial"/>
                <a:cs typeface="Arial"/>
              </a:rPr>
              <a:t>nea</a:t>
            </a:r>
            <a:r>
              <a:rPr sz="1200" spc="-4" dirty="0" smtClean="0">
                <a:solidFill>
                  <a:srgbClr val="7E7E7E"/>
                </a:solidFill>
                <a:latin typeface="Arial"/>
                <a:cs typeface="Arial"/>
              </a:rPr>
              <a:t>g</a:t>
            </a:r>
            <a:r>
              <a:rPr sz="1200" spc="4" dirty="0" smtClean="0">
                <a:solidFill>
                  <a:srgbClr val="7E7E7E"/>
                </a:solidFill>
                <a:latin typeface="Arial"/>
                <a:cs typeface="Arial"/>
              </a:rPr>
              <a:t>e</a:t>
            </a:r>
            <a:r>
              <a:rPr sz="1200" dirty="0" smtClean="0">
                <a:solidFill>
                  <a:srgbClr val="7E7E7E"/>
                </a:solidFill>
                <a:latin typeface="Arial"/>
                <a:cs typeface="Arial"/>
              </a:rPr>
              <a:t>;</a:t>
            </a:r>
            <a:r>
              <a:rPr sz="1200" spc="-54" dirty="0" smtClean="0">
                <a:solidFill>
                  <a:srgbClr val="7E7E7E"/>
                </a:solidFill>
                <a:latin typeface="Arial"/>
                <a:cs typeface="Arial"/>
              </a:rPr>
              <a:t> </a:t>
            </a:r>
            <a:r>
              <a:rPr sz="1200" spc="-9" dirty="0" smtClean="0">
                <a:solidFill>
                  <a:srgbClr val="7E7E7E"/>
                </a:solidFill>
                <a:latin typeface="Arial"/>
                <a:cs typeface="Arial"/>
              </a:rPr>
              <a:t>Y</a:t>
            </a:r>
            <a:r>
              <a:rPr sz="1200" spc="-4" dirty="0" smtClean="0">
                <a:solidFill>
                  <a:srgbClr val="7E7E7E"/>
                </a:solidFill>
                <a:latin typeface="Arial"/>
                <a:cs typeface="Arial"/>
              </a:rPr>
              <a:t>M</a:t>
            </a:r>
            <a:r>
              <a:rPr sz="1200" dirty="0" smtClean="0">
                <a:solidFill>
                  <a:srgbClr val="7E7E7E"/>
                </a:solidFill>
                <a:latin typeface="Arial"/>
                <a:cs typeface="Arial"/>
              </a:rPr>
              <a:t>,</a:t>
            </a:r>
            <a:r>
              <a:rPr sz="1200" spc="-4" dirty="0" smtClean="0">
                <a:solidFill>
                  <a:srgbClr val="7E7E7E"/>
                </a:solidFill>
                <a:latin typeface="Arial"/>
                <a:cs typeface="Arial"/>
              </a:rPr>
              <a:t> </a:t>
            </a:r>
            <a:r>
              <a:rPr sz="1200" spc="-89" dirty="0" smtClean="0">
                <a:solidFill>
                  <a:srgbClr val="7E7E7E"/>
                </a:solidFill>
                <a:latin typeface="Arial"/>
                <a:cs typeface="Arial"/>
              </a:rPr>
              <a:t>Y</a:t>
            </a:r>
            <a:r>
              <a:rPr sz="1200" spc="4" dirty="0" smtClean="0">
                <a:solidFill>
                  <a:srgbClr val="7E7E7E"/>
                </a:solidFill>
                <a:latin typeface="Arial"/>
                <a:cs typeface="Arial"/>
              </a:rPr>
              <a:t>ama</a:t>
            </a:r>
            <a:r>
              <a:rPr sz="1200" spc="-4" dirty="0" smtClean="0">
                <a:solidFill>
                  <a:srgbClr val="7E7E7E"/>
                </a:solidFill>
                <a:latin typeface="Arial"/>
                <a:cs typeface="Arial"/>
              </a:rPr>
              <a:t>g</a:t>
            </a:r>
            <a:r>
              <a:rPr sz="1200" spc="4" dirty="0" smtClean="0">
                <a:solidFill>
                  <a:srgbClr val="7E7E7E"/>
                </a:solidFill>
                <a:latin typeface="Arial"/>
                <a:cs typeface="Arial"/>
              </a:rPr>
              <a:t>a</a:t>
            </a:r>
            <a:r>
              <a:rPr sz="1200" dirty="0" smtClean="0">
                <a:solidFill>
                  <a:srgbClr val="7E7E7E"/>
                </a:solidFill>
                <a:latin typeface="Arial"/>
                <a:cs typeface="Arial"/>
              </a:rPr>
              <a:t>ta</a:t>
            </a:r>
            <a:r>
              <a:rPr sz="1200" spc="-24" dirty="0" smtClean="0">
                <a:solidFill>
                  <a:srgbClr val="7E7E7E"/>
                </a:solidFill>
                <a:latin typeface="Arial"/>
                <a:cs typeface="Arial"/>
              </a:rPr>
              <a:t> </a:t>
            </a:r>
            <a:r>
              <a:rPr sz="1200" dirty="0" smtClean="0">
                <a:solidFill>
                  <a:srgbClr val="7E7E7E"/>
                </a:solidFill>
                <a:latin typeface="Arial"/>
                <a:cs typeface="Arial"/>
              </a:rPr>
              <a:t>l</a:t>
            </a:r>
            <a:r>
              <a:rPr sz="1200" spc="-4" dirty="0" smtClean="0">
                <a:solidFill>
                  <a:srgbClr val="7E7E7E"/>
                </a:solidFill>
                <a:latin typeface="Arial"/>
                <a:cs typeface="Arial"/>
              </a:rPr>
              <a:t>i</a:t>
            </a:r>
            <a:r>
              <a:rPr sz="1200" spc="4" dirty="0" smtClean="0">
                <a:solidFill>
                  <a:srgbClr val="7E7E7E"/>
                </a:solidFill>
                <a:latin typeface="Arial"/>
                <a:cs typeface="Arial"/>
              </a:rPr>
              <a:t>nea</a:t>
            </a:r>
            <a:r>
              <a:rPr sz="1200" spc="-4" dirty="0" smtClean="0">
                <a:solidFill>
                  <a:srgbClr val="7E7E7E"/>
                </a:solidFill>
                <a:latin typeface="Arial"/>
                <a:cs typeface="Arial"/>
              </a:rPr>
              <a:t>g</a:t>
            </a:r>
            <a:r>
              <a:rPr sz="1200" dirty="0" smtClean="0">
                <a:solidFill>
                  <a:srgbClr val="7E7E7E"/>
                </a:solidFill>
                <a:latin typeface="Arial"/>
                <a:cs typeface="Arial"/>
              </a:rPr>
              <a:t>e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2700" marR="31397">
              <a:lnSpc>
                <a:spcPct val="95825"/>
              </a:lnSpc>
              <a:spcBef>
                <a:spcPts val="150"/>
              </a:spcBef>
            </a:pPr>
            <a:r>
              <a:rPr sz="700" b="1" dirty="0" smtClean="0">
                <a:solidFill>
                  <a:prstClr val="black"/>
                </a:solidFill>
                <a:latin typeface="Arial"/>
                <a:cs typeface="Arial"/>
              </a:rPr>
              <a:t>Re</a:t>
            </a:r>
            <a:r>
              <a:rPr sz="700" b="1" spc="-4" dirty="0" smtClean="0">
                <a:solidFill>
                  <a:prstClr val="black"/>
                </a:solidFill>
                <a:latin typeface="Arial"/>
                <a:cs typeface="Arial"/>
              </a:rPr>
              <a:t>fe</a:t>
            </a:r>
            <a:r>
              <a:rPr sz="700" b="1" spc="4" dirty="0" smtClean="0">
                <a:solidFill>
                  <a:prstClr val="black"/>
                </a:solidFill>
                <a:latin typeface="Arial"/>
                <a:cs typeface="Arial"/>
              </a:rPr>
              <a:t>r</a:t>
            </a:r>
            <a:r>
              <a:rPr sz="700" b="1" spc="-4" dirty="0" smtClean="0">
                <a:solidFill>
                  <a:prstClr val="black"/>
                </a:solidFill>
                <a:latin typeface="Arial"/>
                <a:cs typeface="Arial"/>
              </a:rPr>
              <a:t>ences</a:t>
            </a:r>
            <a:r>
              <a:rPr sz="700" b="1" dirty="0" smtClean="0">
                <a:solidFill>
                  <a:prstClr val="black"/>
                </a:solidFill>
                <a:latin typeface="Arial"/>
                <a:cs typeface="Arial"/>
              </a:rPr>
              <a:t>:</a:t>
            </a:r>
            <a:endParaRPr sz="7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2700" marR="31397">
              <a:lnSpc>
                <a:spcPct val="95825"/>
              </a:lnSpc>
              <a:spcBef>
                <a:spcPts val="35"/>
              </a:spcBef>
            </a:pP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(</a:t>
            </a:r>
            <a:r>
              <a:rPr sz="700" spc="4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dap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700" spc="-8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f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ro</a:t>
            </a:r>
            <a:r>
              <a:rPr sz="700" spc="9" dirty="0" smtClean="0">
                <a:solidFill>
                  <a:prstClr val="black"/>
                </a:solidFill>
                <a:latin typeface="Arial"/>
                <a:cs typeface="Arial"/>
              </a:rPr>
              <a:t>m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)</a:t>
            </a:r>
            <a:r>
              <a:rPr sz="700" spc="13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700" spc="4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700" spc="9" dirty="0" smtClean="0">
                <a:solidFill>
                  <a:prstClr val="black"/>
                </a:solidFill>
                <a:latin typeface="Arial"/>
                <a:cs typeface="Arial"/>
              </a:rPr>
              <a:t>m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bro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se</a:t>
            </a:r>
            <a:r>
              <a:rPr sz="700" spc="-8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&amp;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 Le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vin.</a:t>
            </a:r>
            <a:r>
              <a:rPr sz="700" spc="6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700" i="1" dirty="0" smtClean="0">
                <a:solidFill>
                  <a:prstClr val="black"/>
                </a:solidFill>
                <a:latin typeface="Arial"/>
                <a:cs typeface="Arial"/>
              </a:rPr>
              <a:t>Hum </a:t>
            </a:r>
            <a:r>
              <a:rPr sz="700" i="1" spc="4" dirty="0" smtClean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sz="700" i="1" spc="-4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700" i="1" dirty="0" smtClean="0">
                <a:solidFill>
                  <a:prstClr val="black"/>
                </a:solidFill>
                <a:latin typeface="Arial"/>
                <a:cs typeface="Arial"/>
              </a:rPr>
              <a:t>ccin</a:t>
            </a:r>
            <a:r>
              <a:rPr sz="700" i="1" spc="-11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700" i="1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700" i="1" spc="-14" dirty="0" smtClean="0">
                <a:solidFill>
                  <a:prstClr val="black"/>
                </a:solidFill>
                <a:latin typeface="Arial"/>
                <a:cs typeface="Arial"/>
              </a:rPr>
              <a:t>mm</a:t>
            </a:r>
            <a:r>
              <a:rPr sz="700" i="1" spc="9" dirty="0" smtClean="0">
                <a:solidFill>
                  <a:prstClr val="black"/>
                </a:solidFill>
                <a:latin typeface="Arial"/>
                <a:cs typeface="Arial"/>
              </a:rPr>
              <a:t>u</a:t>
            </a:r>
            <a:r>
              <a:rPr sz="700" i="1" spc="-4" dirty="0" smtClean="0">
                <a:solidFill>
                  <a:prstClr val="black"/>
                </a:solidFill>
                <a:latin typeface="Arial"/>
                <a:cs typeface="Arial"/>
              </a:rPr>
              <a:t>n</a:t>
            </a:r>
            <a:r>
              <a:rPr sz="700" i="1" spc="9" dirty="0" smtClean="0">
                <a:solidFill>
                  <a:prstClr val="black"/>
                </a:solidFill>
                <a:latin typeface="Arial"/>
                <a:cs typeface="Arial"/>
              </a:rPr>
              <a:t>o</a:t>
            </a:r>
            <a:r>
              <a:rPr sz="700" i="1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700" i="1" spc="-4" dirty="0" smtClean="0">
                <a:solidFill>
                  <a:prstClr val="black"/>
                </a:solidFill>
                <a:latin typeface="Arial"/>
                <a:cs typeface="Arial"/>
              </a:rPr>
              <a:t>h</a:t>
            </a:r>
            <a:r>
              <a:rPr sz="700" i="1" spc="9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700" i="1" dirty="0" smtClean="0">
                <a:solidFill>
                  <a:prstClr val="black"/>
                </a:solidFill>
                <a:latin typeface="Arial"/>
                <a:cs typeface="Arial"/>
              </a:rPr>
              <a:t>r</a:t>
            </a:r>
            <a:r>
              <a:rPr sz="700" i="1" spc="22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2012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;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8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: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81–8</a:t>
            </a:r>
            <a:r>
              <a:rPr sz="700" spc="9" dirty="0" smtClean="0">
                <a:solidFill>
                  <a:prstClr val="black"/>
                </a:solidFill>
                <a:latin typeface="Arial"/>
                <a:cs typeface="Arial"/>
              </a:rPr>
              <a:t>8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; </a:t>
            </a:r>
            <a:r>
              <a:rPr sz="700" spc="4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CDC</a:t>
            </a:r>
            <a:r>
              <a:rPr sz="700" spc="-1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700" spc="4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ea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ona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l</a:t>
            </a:r>
            <a:r>
              <a:rPr sz="700" spc="-1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in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f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lu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en</a:t>
            </a:r>
            <a:r>
              <a:rPr sz="700" spc="-9" dirty="0" smtClean="0">
                <a:solidFill>
                  <a:prstClr val="black"/>
                </a:solidFill>
                <a:latin typeface="Arial"/>
                <a:cs typeface="Arial"/>
              </a:rPr>
              <a:t>z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700" spc="1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201</a:t>
            </a:r>
            <a:r>
              <a:rPr sz="700" spc="4" dirty="0" smtClean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-201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700" spc="11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in</a:t>
            </a:r>
            <a:r>
              <a:rPr sz="700" spc="-10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700" spc="4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urop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700" spc="-2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il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ab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le</a:t>
            </a:r>
            <a:r>
              <a:rPr sz="700" spc="-17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700" spc="-5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700" spc="-174" dirty="0" smtClean="0">
                <a:solidFill>
                  <a:srgbClr val="07396C"/>
                </a:solidFill>
                <a:latin typeface="Arial"/>
                <a:cs typeface="Arial"/>
              </a:rPr>
              <a:t> </a:t>
            </a:r>
            <a:r>
              <a:rPr sz="700" u="sng" spc="-4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h</a:t>
            </a:r>
            <a:r>
              <a:rPr sz="700" u="sng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t</a:t>
            </a:r>
            <a:r>
              <a:rPr sz="700" u="sng" spc="-4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tp</a:t>
            </a:r>
            <a:r>
              <a:rPr sz="700" u="sng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:</a:t>
            </a:r>
            <a:r>
              <a:rPr sz="700" u="sng" spc="-4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/</a:t>
            </a:r>
            <a:r>
              <a:rPr sz="700" u="sng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/</a:t>
            </a:r>
            <a:r>
              <a:rPr sz="700" u="sng" spc="-4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e</a:t>
            </a:r>
            <a:r>
              <a:rPr sz="700" u="sng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c</a:t>
            </a:r>
            <a:r>
              <a:rPr sz="700" u="sng" spc="9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d</a:t>
            </a:r>
            <a:r>
              <a:rPr sz="700" u="sng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c.</a:t>
            </a:r>
            <a:r>
              <a:rPr sz="700" u="sng" spc="4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e</a:t>
            </a:r>
            <a:r>
              <a:rPr sz="700" u="sng" spc="9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u</a:t>
            </a:r>
            <a:r>
              <a:rPr sz="700" u="sng" spc="-4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rop</a:t>
            </a:r>
            <a:r>
              <a:rPr sz="700" u="sng" spc="9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a</a:t>
            </a:r>
            <a:r>
              <a:rPr sz="700" u="sng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.</a:t>
            </a:r>
            <a:r>
              <a:rPr sz="700" u="sng" spc="4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e</a:t>
            </a:r>
            <a:r>
              <a:rPr sz="700" u="sng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u</a:t>
            </a:r>
            <a:r>
              <a:rPr sz="700" spc="-20" dirty="0" smtClean="0">
                <a:solidFill>
                  <a:srgbClr val="07396C"/>
                </a:solidFill>
                <a:latin typeface="Arial"/>
                <a:cs typeface="Arial"/>
                <a:hlinkClick r:id="rId3"/>
              </a:rPr>
              <a:t> 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  <a:hlinkClick r:id="rId3"/>
              </a:rPr>
              <a:t>(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cc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ss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700" spc="12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700" spc="4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ep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700" spc="-4" dirty="0" smtClean="0">
                <a:solidFill>
                  <a:prstClr val="black"/>
                </a:solidFill>
                <a:latin typeface="Arial"/>
                <a:cs typeface="Arial"/>
              </a:rPr>
              <a:t> 2012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)</a:t>
            </a:r>
            <a:r>
              <a:rPr sz="700" spc="12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700" dirty="0" smtClean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700" spc="2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800" spc="4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800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800" spc="4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o</a:t>
            </a:r>
            <a:r>
              <a:rPr sz="800" dirty="0" smtClean="0">
                <a:solidFill>
                  <a:prstClr val="black"/>
                </a:solidFill>
                <a:latin typeface="Arial"/>
                <a:cs typeface="Arial"/>
              </a:rPr>
              <a:t>n</a:t>
            </a:r>
            <a:endParaRPr sz="8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2700" marR="31397">
              <a:lnSpc>
                <a:spcPct val="95825"/>
              </a:lnSpc>
              <a:spcBef>
                <a:spcPts val="40"/>
              </a:spcBef>
            </a:pP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2012</a:t>
            </a:r>
            <a:r>
              <a:rPr sz="800" spc="4" dirty="0" smtClean="0">
                <a:solidFill>
                  <a:prstClr val="black"/>
                </a:solidFill>
                <a:latin typeface="Arial"/>
                <a:cs typeface="Arial"/>
              </a:rPr>
              <a:t>/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2013</a:t>
            </a:r>
            <a:r>
              <a:rPr sz="800" dirty="0" smtClean="0">
                <a:solidFill>
                  <a:prstClr val="black"/>
                </a:solidFill>
                <a:latin typeface="Arial"/>
                <a:cs typeface="Arial"/>
              </a:rPr>
              <a:t>:</a:t>
            </a:r>
            <a:r>
              <a:rPr sz="800" spc="3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800" spc="4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CD</a:t>
            </a:r>
            <a:r>
              <a:rPr sz="800" dirty="0" smtClean="0">
                <a:solidFill>
                  <a:prstClr val="black"/>
                </a:solidFill>
                <a:latin typeface="Arial"/>
                <a:cs typeface="Arial"/>
              </a:rPr>
              <a:t>C 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R</a:t>
            </a:r>
            <a:r>
              <a:rPr sz="800" dirty="0" smtClean="0">
                <a:solidFill>
                  <a:prstClr val="black"/>
                </a:solidFill>
                <a:latin typeface="Arial"/>
                <a:cs typeface="Arial"/>
              </a:rPr>
              <a:t>TI</a:t>
            </a:r>
            <a:r>
              <a:rPr sz="800" spc="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800" spc="4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nnua</a:t>
            </a:r>
            <a:r>
              <a:rPr sz="800" dirty="0" smtClean="0">
                <a:solidFill>
                  <a:prstClr val="black"/>
                </a:solidFill>
                <a:latin typeface="Arial"/>
                <a:cs typeface="Arial"/>
              </a:rPr>
              <a:t>l</a:t>
            </a:r>
            <a:r>
              <a:rPr sz="800" spc="1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800" spc="4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p</a:t>
            </a:r>
            <a:r>
              <a:rPr sz="800" dirty="0" smtClean="0">
                <a:solidFill>
                  <a:prstClr val="black"/>
                </a:solidFill>
                <a:latin typeface="Arial"/>
                <a:cs typeface="Arial"/>
              </a:rPr>
              <a:t>id.</a:t>
            </a:r>
            <a:r>
              <a:rPr sz="800" spc="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Repor</a:t>
            </a:r>
            <a:r>
              <a:rPr sz="800" spc="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(2014)</a:t>
            </a:r>
            <a:r>
              <a:rPr sz="800" dirty="0" smtClean="0">
                <a:solidFill>
                  <a:prstClr val="black"/>
                </a:solidFill>
                <a:latin typeface="Arial"/>
                <a:cs typeface="Arial"/>
              </a:rPr>
              <a:t>;</a:t>
            </a:r>
            <a:r>
              <a:rPr sz="800" spc="3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800" spc="4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800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800" spc="4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o</a:t>
            </a:r>
            <a:r>
              <a:rPr sz="800" dirty="0" smtClean="0">
                <a:solidFill>
                  <a:prstClr val="black"/>
                </a:solidFill>
                <a:latin typeface="Arial"/>
                <a:cs typeface="Arial"/>
              </a:rPr>
              <a:t>n</a:t>
            </a:r>
            <a:r>
              <a:rPr sz="800" spc="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2013</a:t>
            </a:r>
            <a:r>
              <a:rPr sz="800" spc="4" dirty="0" smtClean="0">
                <a:solidFill>
                  <a:prstClr val="black"/>
                </a:solidFill>
                <a:latin typeface="Arial"/>
                <a:cs typeface="Arial"/>
              </a:rPr>
              <a:t>/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2014</a:t>
            </a:r>
            <a:r>
              <a:rPr sz="800" dirty="0" smtClean="0">
                <a:solidFill>
                  <a:prstClr val="black"/>
                </a:solidFill>
                <a:latin typeface="Arial"/>
                <a:cs typeface="Arial"/>
              </a:rPr>
              <a:t>:</a:t>
            </a:r>
            <a:r>
              <a:rPr sz="800" spc="4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800" spc="4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CD</a:t>
            </a:r>
            <a:r>
              <a:rPr sz="800" dirty="0" smtClean="0">
                <a:solidFill>
                  <a:prstClr val="black"/>
                </a:solidFill>
                <a:latin typeface="Arial"/>
                <a:cs typeface="Arial"/>
              </a:rPr>
              <a:t>C</a:t>
            </a:r>
            <a:r>
              <a:rPr sz="800" spc="-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800" spc="4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RL</a:t>
            </a:r>
            <a:r>
              <a:rPr sz="800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800" spc="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(</a:t>
            </a:r>
            <a:r>
              <a:rPr sz="800" spc="4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ep</a:t>
            </a:r>
            <a:r>
              <a:rPr sz="800" spc="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800" dirty="0" smtClean="0">
                <a:solidFill>
                  <a:prstClr val="black"/>
                </a:solidFill>
                <a:latin typeface="Arial"/>
                <a:cs typeface="Arial"/>
              </a:rPr>
              <a:t>.</a:t>
            </a:r>
            <a:r>
              <a:rPr sz="800" spc="25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800" spc="-4" dirty="0" smtClean="0">
                <a:solidFill>
                  <a:prstClr val="black"/>
                </a:solidFill>
                <a:latin typeface="Arial"/>
                <a:cs typeface="Arial"/>
              </a:rPr>
              <a:t>2014)</a:t>
            </a:r>
            <a:endParaRPr sz="8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8547609" y="4851575"/>
            <a:ext cx="170561" cy="1046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spc="4" dirty="0" smtClean="0">
                <a:solidFill>
                  <a:srgbClr val="DD1812"/>
                </a:solidFill>
                <a:latin typeface="Arial"/>
                <a:cs typeface="Arial"/>
              </a:rPr>
              <a:t>12</a:t>
            </a:r>
            <a:endParaRPr sz="9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7" name="object 107"/>
          <p:cNvSpPr txBox="1"/>
          <p:nvPr/>
        </p:nvSpPr>
        <p:spPr>
          <a:xfrm rot="5400000">
            <a:off x="8385669" y="3886732"/>
            <a:ext cx="1293848" cy="1295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BE/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FL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U/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0013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/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15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(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900" spc="9" dirty="0" smtClean="0">
                <a:solidFill>
                  <a:prstClr val="black"/>
                </a:solidFill>
                <a:latin typeface="Arial"/>
                <a:cs typeface="Arial"/>
              </a:rPr>
              <a:t>)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900" spc="-4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ugus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900" spc="-1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201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5</a:t>
            </a:r>
            <a:endParaRPr sz="9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6" name="object 106"/>
          <p:cNvSpPr txBox="1"/>
          <p:nvPr/>
        </p:nvSpPr>
        <p:spPr>
          <a:xfrm rot="16200000">
            <a:off x="-500794" y="2381114"/>
            <a:ext cx="2327072" cy="2463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dirty="0" smtClean="0">
                <a:solidFill>
                  <a:srgbClr val="685D54"/>
                </a:solidFill>
                <a:latin typeface="Arial"/>
                <a:cs typeface="Arial"/>
              </a:rPr>
              <a:t>C</a:t>
            </a:r>
            <a:r>
              <a:rPr spc="-4" dirty="0" smtClean="0">
                <a:solidFill>
                  <a:srgbClr val="685D54"/>
                </a:solidFill>
                <a:latin typeface="Arial"/>
                <a:cs typeface="Arial"/>
              </a:rPr>
              <a:t>i</a:t>
            </a:r>
            <a:r>
              <a:rPr dirty="0" smtClean="0">
                <a:solidFill>
                  <a:srgbClr val="685D54"/>
                </a:solidFill>
                <a:latin typeface="Arial"/>
                <a:cs typeface="Arial"/>
              </a:rPr>
              <a:t>rcu</a:t>
            </a:r>
            <a:r>
              <a:rPr spc="-4" dirty="0" smtClean="0">
                <a:solidFill>
                  <a:srgbClr val="685D54"/>
                </a:solidFill>
                <a:latin typeface="Arial"/>
                <a:cs typeface="Arial"/>
              </a:rPr>
              <a:t>l</a:t>
            </a:r>
            <a:r>
              <a:rPr dirty="0" smtClean="0">
                <a:solidFill>
                  <a:srgbClr val="685D54"/>
                </a:solidFill>
                <a:latin typeface="Arial"/>
                <a:cs typeface="Arial"/>
              </a:rPr>
              <a:t>ati</a:t>
            </a:r>
            <a:r>
              <a:rPr spc="-9" dirty="0" smtClean="0">
                <a:solidFill>
                  <a:srgbClr val="685D54"/>
                </a:solidFill>
                <a:latin typeface="Arial"/>
                <a:cs typeface="Arial"/>
              </a:rPr>
              <a:t>n</a:t>
            </a:r>
            <a:r>
              <a:rPr dirty="0" smtClean="0">
                <a:solidFill>
                  <a:srgbClr val="685D54"/>
                </a:solidFill>
                <a:latin typeface="Arial"/>
                <a:cs typeface="Arial"/>
              </a:rPr>
              <a:t>g</a:t>
            </a:r>
            <a:r>
              <a:rPr spc="9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dirty="0" smtClean="0">
                <a:solidFill>
                  <a:srgbClr val="685D54"/>
                </a:solidFill>
                <a:latin typeface="Arial"/>
                <a:cs typeface="Arial"/>
              </a:rPr>
              <a:t>i</a:t>
            </a:r>
            <a:r>
              <a:rPr spc="-9" dirty="0" smtClean="0">
                <a:solidFill>
                  <a:srgbClr val="685D54"/>
                </a:solidFill>
                <a:latin typeface="Arial"/>
                <a:cs typeface="Arial"/>
              </a:rPr>
              <a:t>n</a:t>
            </a:r>
            <a:r>
              <a:rPr dirty="0" smtClean="0">
                <a:solidFill>
                  <a:srgbClr val="685D54"/>
                </a:solidFill>
                <a:latin typeface="Arial"/>
                <a:cs typeface="Arial"/>
              </a:rPr>
              <a:t>flu</a:t>
            </a:r>
            <a:r>
              <a:rPr spc="-9" dirty="0" smtClean="0">
                <a:solidFill>
                  <a:srgbClr val="685D54"/>
                </a:solidFill>
                <a:latin typeface="Arial"/>
                <a:cs typeface="Arial"/>
              </a:rPr>
              <a:t>e</a:t>
            </a:r>
            <a:r>
              <a:rPr dirty="0" smtClean="0">
                <a:solidFill>
                  <a:srgbClr val="685D54"/>
                </a:solidFill>
                <a:latin typeface="Arial"/>
                <a:cs typeface="Arial"/>
              </a:rPr>
              <a:t>nza</a:t>
            </a:r>
            <a:r>
              <a:rPr spc="19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dirty="0" smtClean="0">
                <a:solidFill>
                  <a:srgbClr val="685D54"/>
                </a:solidFill>
                <a:latin typeface="Arial"/>
                <a:cs typeface="Arial"/>
              </a:rPr>
              <a:t>B</a:t>
            </a:r>
            <a:r>
              <a:rPr spc="-4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dirty="0" smtClean="0">
                <a:solidFill>
                  <a:srgbClr val="685D54"/>
                </a:solidFill>
                <a:latin typeface="Arial"/>
                <a:cs typeface="Arial"/>
              </a:rPr>
              <a:t>l</a:t>
            </a:r>
            <a:r>
              <a:rPr spc="-4" dirty="0" smtClean="0">
                <a:solidFill>
                  <a:srgbClr val="685D54"/>
                </a:solidFill>
                <a:latin typeface="Arial"/>
                <a:cs typeface="Arial"/>
              </a:rPr>
              <a:t>i</a:t>
            </a:r>
            <a:r>
              <a:rPr dirty="0" smtClean="0">
                <a:solidFill>
                  <a:srgbClr val="685D54"/>
                </a:solidFill>
                <a:latin typeface="Arial"/>
                <a:cs typeface="Arial"/>
              </a:rPr>
              <a:t>n</a:t>
            </a:r>
            <a:r>
              <a:rPr spc="-9" dirty="0" smtClean="0">
                <a:solidFill>
                  <a:srgbClr val="685D54"/>
                </a:solidFill>
                <a:latin typeface="Arial"/>
                <a:cs typeface="Arial"/>
              </a:rPr>
              <a:t>e</a:t>
            </a:r>
            <a:r>
              <a:rPr dirty="0" smtClean="0">
                <a:solidFill>
                  <a:srgbClr val="685D54"/>
                </a:solidFill>
                <a:latin typeface="Arial"/>
                <a:cs typeface="Arial"/>
              </a:rPr>
              <a:t>a</a:t>
            </a:r>
            <a:r>
              <a:rPr spc="-9" dirty="0" smtClean="0">
                <a:solidFill>
                  <a:srgbClr val="685D54"/>
                </a:solidFill>
                <a:latin typeface="Arial"/>
                <a:cs typeface="Arial"/>
              </a:rPr>
              <a:t>g</a:t>
            </a:r>
            <a:r>
              <a:rPr dirty="0" smtClean="0">
                <a:solidFill>
                  <a:srgbClr val="685D54"/>
                </a:solidFill>
                <a:latin typeface="Arial"/>
                <a:cs typeface="Arial"/>
              </a:rPr>
              <a:t>e</a:t>
            </a:r>
            <a:endParaRPr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1557529" y="1411930"/>
            <a:ext cx="68579" cy="231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1626108" y="1411930"/>
            <a:ext cx="725424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2351532" y="1411930"/>
            <a:ext cx="222504" cy="4759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2574036" y="1411930"/>
            <a:ext cx="335280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2909317" y="1411931"/>
            <a:ext cx="222503" cy="10626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3131820" y="1411930"/>
            <a:ext cx="335280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3467101" y="1411930"/>
            <a:ext cx="224027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3691128" y="1411930"/>
            <a:ext cx="333756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4024885" y="1411930"/>
            <a:ext cx="224027" cy="13560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4248913" y="1411930"/>
            <a:ext cx="333755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5" name="object 95"/>
          <p:cNvSpPr txBox="1"/>
          <p:nvPr/>
        </p:nvSpPr>
        <p:spPr>
          <a:xfrm>
            <a:off x="4582668" y="1411930"/>
            <a:ext cx="224028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4806697" y="1411930"/>
            <a:ext cx="335279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5141977" y="1411930"/>
            <a:ext cx="222503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5364480" y="1411930"/>
            <a:ext cx="335280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5699761" y="1411930"/>
            <a:ext cx="222503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5922264" y="1411930"/>
            <a:ext cx="335280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9" name="object 89"/>
          <p:cNvSpPr txBox="1"/>
          <p:nvPr/>
        </p:nvSpPr>
        <p:spPr>
          <a:xfrm>
            <a:off x="6257545" y="1411930"/>
            <a:ext cx="222503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8" name="object 88"/>
          <p:cNvSpPr txBox="1"/>
          <p:nvPr/>
        </p:nvSpPr>
        <p:spPr>
          <a:xfrm>
            <a:off x="6480049" y="1411930"/>
            <a:ext cx="335279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6815329" y="1411930"/>
            <a:ext cx="222503" cy="137312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7037833" y="1411930"/>
            <a:ext cx="335279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7373111" y="1411930"/>
            <a:ext cx="224028" cy="1826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7597141" y="1411930"/>
            <a:ext cx="333755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7930897" y="1411930"/>
            <a:ext cx="224027" cy="67229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8154924" y="1411930"/>
            <a:ext cx="167640" cy="14585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7373111" y="1594557"/>
            <a:ext cx="224028" cy="127592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1557529" y="1643637"/>
            <a:ext cx="68579" cy="2442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1557529" y="1887900"/>
            <a:ext cx="68579" cy="24540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2351532" y="1887900"/>
            <a:ext cx="222504" cy="9825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7930897" y="2084223"/>
            <a:ext cx="224027" cy="7862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1557529" y="2133303"/>
            <a:ext cx="68579" cy="2442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1557529" y="2377566"/>
            <a:ext cx="68579" cy="2442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2909317" y="2474586"/>
            <a:ext cx="222503" cy="3958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1557529" y="2621830"/>
            <a:ext cx="68579" cy="2486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4024885" y="2767931"/>
            <a:ext cx="224027" cy="1025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6815329" y="2785052"/>
            <a:ext cx="222503" cy="854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48"/>
              </a:spcBef>
            </a:pPr>
            <a:endParaRPr sz="850">
              <a:solidFill>
                <a:prstClr val="black"/>
              </a:solidFill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1557529" y="2870477"/>
            <a:ext cx="68579" cy="23987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1626108" y="2870477"/>
            <a:ext cx="655066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2281174" y="2870477"/>
            <a:ext cx="420306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3852">
              <a:lnSpc>
                <a:spcPct val="95825"/>
              </a:lnSpc>
              <a:spcBef>
                <a:spcPts val="409"/>
              </a:spcBef>
            </a:pPr>
            <a:r>
              <a:rPr sz="1100" spc="-4" dirty="0" smtClean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100" spc="4" dirty="0" smtClean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100" dirty="0" smtClean="0">
                <a:solidFill>
                  <a:srgbClr val="FFFFFF"/>
                </a:solidFill>
                <a:latin typeface="Arial"/>
                <a:cs typeface="Arial"/>
              </a:rPr>
              <a:t>C</a:t>
            </a:r>
            <a:endParaRPr sz="11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701481" y="2870477"/>
            <a:ext cx="154749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2856231" y="2870477"/>
            <a:ext cx="396265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5122">
              <a:lnSpc>
                <a:spcPct val="95825"/>
              </a:lnSpc>
              <a:spcBef>
                <a:spcPts val="409"/>
              </a:spcBef>
            </a:pPr>
            <a:r>
              <a:rPr sz="1100" spc="-4" dirty="0" smtClean="0">
                <a:solidFill>
                  <a:srgbClr val="92D050"/>
                </a:solidFill>
                <a:latin typeface="Arial"/>
                <a:cs typeface="Arial"/>
              </a:rPr>
              <a:t>YM</a:t>
            </a:r>
            <a:endParaRPr sz="11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3252495" y="2870477"/>
            <a:ext cx="140690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3393187" y="2870477"/>
            <a:ext cx="396265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5250">
              <a:lnSpc>
                <a:spcPct val="95825"/>
              </a:lnSpc>
              <a:spcBef>
                <a:spcPts val="409"/>
              </a:spcBef>
            </a:pPr>
            <a:r>
              <a:rPr sz="1100" spc="-4" dirty="0" smtClean="0">
                <a:solidFill>
                  <a:srgbClr val="92D050"/>
                </a:solidFill>
                <a:latin typeface="Arial"/>
                <a:cs typeface="Arial"/>
              </a:rPr>
              <a:t>YM</a:t>
            </a:r>
            <a:endParaRPr sz="11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3789452" y="2870477"/>
            <a:ext cx="189331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3978783" y="2870477"/>
            <a:ext cx="420306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3979">
              <a:lnSpc>
                <a:spcPct val="95825"/>
              </a:lnSpc>
              <a:spcBef>
                <a:spcPts val="285"/>
              </a:spcBef>
            </a:pPr>
            <a:r>
              <a:rPr sz="1100" spc="-4" dirty="0" smtClean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100" spc="4" dirty="0" smtClean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100" dirty="0" smtClean="0">
                <a:solidFill>
                  <a:srgbClr val="FFFFFF"/>
                </a:solidFill>
                <a:latin typeface="Arial"/>
                <a:cs typeface="Arial"/>
              </a:rPr>
              <a:t>C</a:t>
            </a:r>
            <a:endParaRPr sz="11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4399090" y="2870477"/>
            <a:ext cx="87693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4486783" y="2870477"/>
            <a:ext cx="420306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4106">
              <a:lnSpc>
                <a:spcPct val="95825"/>
              </a:lnSpc>
              <a:spcBef>
                <a:spcPts val="285"/>
              </a:spcBef>
            </a:pPr>
            <a:r>
              <a:rPr sz="1100" spc="-4" dirty="0" smtClean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100" spc="4" dirty="0" smtClean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100" dirty="0" smtClean="0">
                <a:solidFill>
                  <a:srgbClr val="FFFFFF"/>
                </a:solidFill>
                <a:latin typeface="Arial"/>
                <a:cs typeface="Arial"/>
              </a:rPr>
              <a:t>C</a:t>
            </a:r>
            <a:endParaRPr sz="11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4907089" y="2870477"/>
            <a:ext cx="164020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5071111" y="2870477"/>
            <a:ext cx="396265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5503">
              <a:lnSpc>
                <a:spcPct val="95825"/>
              </a:lnSpc>
              <a:spcBef>
                <a:spcPts val="285"/>
              </a:spcBef>
            </a:pPr>
            <a:r>
              <a:rPr sz="1100" spc="-4" dirty="0" smtClean="0">
                <a:solidFill>
                  <a:srgbClr val="92D050"/>
                </a:solidFill>
                <a:latin typeface="Arial"/>
                <a:cs typeface="Arial"/>
              </a:rPr>
              <a:t>YM</a:t>
            </a:r>
            <a:endParaRPr sz="11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5467376" y="2870477"/>
            <a:ext cx="153263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5620639" y="2870477"/>
            <a:ext cx="420306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4107">
              <a:lnSpc>
                <a:spcPct val="95825"/>
              </a:lnSpc>
              <a:spcBef>
                <a:spcPts val="285"/>
              </a:spcBef>
            </a:pPr>
            <a:r>
              <a:rPr sz="1100" spc="-4" dirty="0" smtClean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100" spc="4" dirty="0" smtClean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100" dirty="0" smtClean="0">
                <a:solidFill>
                  <a:srgbClr val="FFFFFF"/>
                </a:solidFill>
                <a:latin typeface="Arial"/>
                <a:cs typeface="Arial"/>
              </a:rPr>
              <a:t>C</a:t>
            </a:r>
            <a:endParaRPr sz="11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6040945" y="2870477"/>
            <a:ext cx="130746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6171693" y="2870477"/>
            <a:ext cx="420319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4361">
              <a:lnSpc>
                <a:spcPct val="95825"/>
              </a:lnSpc>
              <a:spcBef>
                <a:spcPts val="270"/>
              </a:spcBef>
            </a:pPr>
            <a:r>
              <a:rPr sz="1100" spc="-4" dirty="0" smtClean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100" spc="4" dirty="0" smtClean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100" dirty="0" smtClean="0">
                <a:solidFill>
                  <a:srgbClr val="FFFFFF"/>
                </a:solidFill>
                <a:latin typeface="Arial"/>
                <a:cs typeface="Arial"/>
              </a:rPr>
              <a:t>C</a:t>
            </a:r>
            <a:endParaRPr sz="11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6592011" y="2870477"/>
            <a:ext cx="156514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6748526" y="2870477"/>
            <a:ext cx="420306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4488">
              <a:lnSpc>
                <a:spcPct val="95825"/>
              </a:lnSpc>
              <a:spcBef>
                <a:spcPts val="325"/>
              </a:spcBef>
            </a:pPr>
            <a:r>
              <a:rPr sz="1100" spc="-4" dirty="0" smtClean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100" spc="4" dirty="0" smtClean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100" dirty="0" smtClean="0">
                <a:solidFill>
                  <a:srgbClr val="FFFFFF"/>
                </a:solidFill>
                <a:latin typeface="Arial"/>
                <a:cs typeface="Arial"/>
              </a:rPr>
              <a:t>C</a:t>
            </a:r>
            <a:endParaRPr sz="11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7168833" y="2870477"/>
            <a:ext cx="129349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7298183" y="2870477"/>
            <a:ext cx="396265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6012">
              <a:lnSpc>
                <a:spcPct val="95825"/>
              </a:lnSpc>
              <a:spcBef>
                <a:spcPts val="280"/>
              </a:spcBef>
            </a:pPr>
            <a:r>
              <a:rPr sz="1100" spc="-4" dirty="0" smtClean="0">
                <a:solidFill>
                  <a:srgbClr val="92D050"/>
                </a:solidFill>
                <a:latin typeface="Arial"/>
                <a:cs typeface="Arial"/>
              </a:rPr>
              <a:t>YM</a:t>
            </a:r>
            <a:endParaRPr sz="11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7694448" y="2870477"/>
            <a:ext cx="174345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7868794" y="2870477"/>
            <a:ext cx="396265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6265">
              <a:lnSpc>
                <a:spcPct val="95825"/>
              </a:lnSpc>
              <a:spcBef>
                <a:spcPts val="360"/>
              </a:spcBef>
            </a:pPr>
            <a:r>
              <a:rPr sz="1100" spc="-4" dirty="0" smtClean="0">
                <a:solidFill>
                  <a:srgbClr val="92D050"/>
                </a:solidFill>
                <a:latin typeface="Arial"/>
                <a:cs typeface="Arial"/>
              </a:rPr>
              <a:t>YM</a:t>
            </a:r>
            <a:endParaRPr sz="11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8265059" y="2870477"/>
            <a:ext cx="57505" cy="195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1626108" y="3066411"/>
            <a:ext cx="725424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50"/>
              </a:lnSpc>
              <a:spcBef>
                <a:spcPts val="21"/>
              </a:spcBef>
            </a:pPr>
            <a:endParaRPr sz="850">
              <a:solidFill>
                <a:prstClr val="black"/>
              </a:solidFill>
            </a:endParaRPr>
          </a:p>
          <a:p>
            <a:pPr marL="94234" marR="58319" indent="10668">
              <a:lnSpc>
                <a:spcPct val="100041"/>
              </a:lnSpc>
              <a:spcBef>
                <a:spcPts val="1000"/>
              </a:spcBef>
            </a:pP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D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ata</a:t>
            </a:r>
            <a:r>
              <a:rPr sz="1100" spc="-14" dirty="0" smtClean="0">
                <a:solidFill>
                  <a:srgbClr val="685D54"/>
                </a:solidFill>
                <a:latin typeface="Arial"/>
                <a:cs typeface="Arial"/>
              </a:rPr>
              <a:t> 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n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o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t a</a:t>
            </a:r>
            <a:r>
              <a:rPr sz="1100" spc="-14" dirty="0" smtClean="0">
                <a:solidFill>
                  <a:srgbClr val="685D54"/>
                </a:solidFill>
                <a:latin typeface="Arial"/>
                <a:cs typeface="Arial"/>
              </a:rPr>
              <a:t>v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a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il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a</a:t>
            </a:r>
            <a:r>
              <a:rPr sz="1100" spc="-4" dirty="0" smtClean="0">
                <a:solidFill>
                  <a:srgbClr val="685D54"/>
                </a:solidFill>
                <a:latin typeface="Arial"/>
                <a:cs typeface="Arial"/>
              </a:rPr>
              <a:t>bl</a:t>
            </a:r>
            <a:r>
              <a:rPr sz="1100" dirty="0" smtClean="0">
                <a:solidFill>
                  <a:srgbClr val="685D54"/>
                </a:solidFill>
                <a:latin typeface="Arial"/>
                <a:cs typeface="Arial"/>
              </a:rPr>
              <a:t>e</a:t>
            </a:r>
            <a:endParaRPr sz="11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2351532" y="3066411"/>
            <a:ext cx="222504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2574036" y="3066411"/>
            <a:ext cx="335280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2909317" y="3066411"/>
            <a:ext cx="222503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3131820" y="3066411"/>
            <a:ext cx="335280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3467101" y="3066411"/>
            <a:ext cx="224027" cy="5575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3691128" y="3066411"/>
            <a:ext cx="333756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4024885" y="3066411"/>
            <a:ext cx="224027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4248913" y="3066411"/>
            <a:ext cx="333755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4582668" y="3066411"/>
            <a:ext cx="224028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4806697" y="3066411"/>
            <a:ext cx="335279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141977" y="3066411"/>
            <a:ext cx="222503" cy="7036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364480" y="3066411"/>
            <a:ext cx="335280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699761" y="3066411"/>
            <a:ext cx="222503" cy="6306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922264" y="3066411"/>
            <a:ext cx="335280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6257545" y="3066411"/>
            <a:ext cx="222503" cy="5815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6480049" y="3066411"/>
            <a:ext cx="335279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6815329" y="3066411"/>
            <a:ext cx="222503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7037833" y="3066411"/>
            <a:ext cx="335279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7373111" y="3066411"/>
            <a:ext cx="224028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7597141" y="3066411"/>
            <a:ext cx="333755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930897" y="3066411"/>
            <a:ext cx="224027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8154924" y="3066411"/>
            <a:ext cx="167640" cy="7778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557529" y="3110355"/>
            <a:ext cx="68579" cy="2442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557529" y="3354618"/>
            <a:ext cx="68579" cy="2454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557529" y="3600022"/>
            <a:ext cx="68579" cy="24426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467101" y="3623992"/>
            <a:ext cx="224027" cy="22029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257545" y="3647962"/>
            <a:ext cx="222503" cy="19632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699761" y="3697042"/>
            <a:ext cx="222503" cy="14724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141977" y="3770093"/>
            <a:ext cx="222503" cy="7419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30"/>
              </a:spcBef>
            </a:pPr>
            <a:endParaRPr sz="750">
              <a:solidFill>
                <a:prstClr val="black"/>
              </a:solidFill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557529" y="3844285"/>
            <a:ext cx="68579" cy="399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626109" y="3844285"/>
            <a:ext cx="557783" cy="399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183891" y="3844285"/>
            <a:ext cx="557784" cy="399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741676" y="3844285"/>
            <a:ext cx="557784" cy="399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299460" y="3844285"/>
            <a:ext cx="557784" cy="399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857245" y="3844285"/>
            <a:ext cx="559307" cy="399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416552" y="3844285"/>
            <a:ext cx="557784" cy="399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974336" y="3844285"/>
            <a:ext cx="557784" cy="399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532121" y="3844285"/>
            <a:ext cx="557783" cy="399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089904" y="3844285"/>
            <a:ext cx="557784" cy="399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647689" y="3844285"/>
            <a:ext cx="557783" cy="399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7205473" y="3844285"/>
            <a:ext cx="557783" cy="399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763256" y="3844285"/>
            <a:ext cx="559308" cy="3994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727704" y="1134565"/>
            <a:ext cx="117348" cy="878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4"/>
              </a:spcBef>
            </a:pPr>
            <a:endParaRPr sz="900">
              <a:solidFill>
                <a:prstClr val="black"/>
              </a:solidFill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2324100" y="1134565"/>
            <a:ext cx="115824" cy="8788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4"/>
              </a:spcBef>
            </a:pPr>
            <a:endParaRPr sz="90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Rechte verbindingslijn 2"/>
          <p:cNvCxnSpPr/>
          <p:nvPr/>
        </p:nvCxnSpPr>
        <p:spPr>
          <a:xfrm>
            <a:off x="837549" y="1520825"/>
            <a:ext cx="75718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2"/>
          <p:cNvSpPr txBox="1">
            <a:spLocks/>
          </p:cNvSpPr>
          <p:nvPr/>
        </p:nvSpPr>
        <p:spPr>
          <a:xfrm>
            <a:off x="819151" y="204493"/>
            <a:ext cx="7074273" cy="124801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3000" b="1" dirty="0" smtClean="0">
                <a:solidFill>
                  <a:srgbClr val="00A4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griepsymptomen</a:t>
            </a:r>
            <a:r>
              <a:rPr lang="nl-BE" sz="3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nl-BE" sz="3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l-BE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</a:t>
            </a:r>
            <a:r>
              <a:rPr lang="nl-BE" sz="3000" b="1" dirty="0" err="1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mptômes</a:t>
            </a:r>
            <a:r>
              <a:rPr lang="nl-BE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la </a:t>
            </a:r>
            <a:r>
              <a:rPr lang="nl-BE" sz="3000" b="1" dirty="0" err="1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ippe</a:t>
            </a:r>
            <a:r>
              <a:rPr lang="nl-BE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3000" b="1" dirty="0" smtClean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3</a:t>
            </a:fld>
            <a:endParaRPr lang="nl-BE"/>
          </a:p>
        </p:txBody>
      </p:sp>
      <p:grpSp>
        <p:nvGrpSpPr>
          <p:cNvPr id="5" name="Group 6"/>
          <p:cNvGrpSpPr>
            <a:grpSpLocks/>
          </p:cNvGrpSpPr>
          <p:nvPr/>
        </p:nvGrpSpPr>
        <p:grpSpPr bwMode="auto">
          <a:xfrm>
            <a:off x="1954561" y="2467213"/>
            <a:ext cx="995107" cy="1703371"/>
            <a:chOff x="1803" y="1844"/>
            <a:chExt cx="490" cy="584"/>
          </a:xfrm>
        </p:grpSpPr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803" y="1844"/>
              <a:ext cx="490" cy="584"/>
            </a:xfrm>
            <a:custGeom>
              <a:avLst/>
              <a:gdLst>
                <a:gd name="T0" fmla="*/ 143 w 552"/>
                <a:gd name="T1" fmla="*/ 2 h 584"/>
                <a:gd name="T2" fmla="*/ 173 w 552"/>
                <a:gd name="T3" fmla="*/ 14 h 584"/>
                <a:gd name="T4" fmla="*/ 196 w 552"/>
                <a:gd name="T5" fmla="*/ 32 h 584"/>
                <a:gd name="T6" fmla="*/ 212 w 552"/>
                <a:gd name="T7" fmla="*/ 58 h 584"/>
                <a:gd name="T8" fmla="*/ 224 w 552"/>
                <a:gd name="T9" fmla="*/ 88 h 584"/>
                <a:gd name="T10" fmla="*/ 229 w 552"/>
                <a:gd name="T11" fmla="*/ 122 h 584"/>
                <a:gd name="T12" fmla="*/ 234 w 552"/>
                <a:gd name="T13" fmla="*/ 159 h 584"/>
                <a:gd name="T14" fmla="*/ 238 w 552"/>
                <a:gd name="T15" fmla="*/ 216 h 584"/>
                <a:gd name="T16" fmla="*/ 238 w 552"/>
                <a:gd name="T17" fmla="*/ 260 h 584"/>
                <a:gd name="T18" fmla="*/ 233 w 552"/>
                <a:gd name="T19" fmla="*/ 295 h 584"/>
                <a:gd name="T20" fmla="*/ 228 w 552"/>
                <a:gd name="T21" fmla="*/ 325 h 584"/>
                <a:gd name="T22" fmla="*/ 210 w 552"/>
                <a:gd name="T23" fmla="*/ 378 h 584"/>
                <a:gd name="T24" fmla="*/ 200 w 552"/>
                <a:gd name="T25" fmla="*/ 422 h 584"/>
                <a:gd name="T26" fmla="*/ 195 w 552"/>
                <a:gd name="T27" fmla="*/ 460 h 584"/>
                <a:gd name="T28" fmla="*/ 196 w 552"/>
                <a:gd name="T29" fmla="*/ 503 h 584"/>
                <a:gd name="T30" fmla="*/ 199 w 552"/>
                <a:gd name="T31" fmla="*/ 552 h 584"/>
                <a:gd name="T32" fmla="*/ 160 w 552"/>
                <a:gd name="T33" fmla="*/ 583 h 584"/>
                <a:gd name="T34" fmla="*/ 75 w 552"/>
                <a:gd name="T35" fmla="*/ 580 h 584"/>
                <a:gd name="T36" fmla="*/ 74 w 552"/>
                <a:gd name="T37" fmla="*/ 534 h 584"/>
                <a:gd name="T38" fmla="*/ 52 w 552"/>
                <a:gd name="T39" fmla="*/ 532 h 584"/>
                <a:gd name="T40" fmla="*/ 29 w 552"/>
                <a:gd name="T41" fmla="*/ 530 h 584"/>
                <a:gd name="T42" fmla="*/ 24 w 552"/>
                <a:gd name="T43" fmla="*/ 521 h 584"/>
                <a:gd name="T44" fmla="*/ 20 w 552"/>
                <a:gd name="T45" fmla="*/ 505 h 584"/>
                <a:gd name="T46" fmla="*/ 20 w 552"/>
                <a:gd name="T47" fmla="*/ 456 h 584"/>
                <a:gd name="T48" fmla="*/ 18 w 552"/>
                <a:gd name="T49" fmla="*/ 441 h 584"/>
                <a:gd name="T50" fmla="*/ 20 w 552"/>
                <a:gd name="T51" fmla="*/ 431 h 584"/>
                <a:gd name="T52" fmla="*/ 16 w 552"/>
                <a:gd name="T53" fmla="*/ 421 h 584"/>
                <a:gd name="T54" fmla="*/ 16 w 552"/>
                <a:gd name="T55" fmla="*/ 410 h 584"/>
                <a:gd name="T56" fmla="*/ 18 w 552"/>
                <a:gd name="T57" fmla="*/ 391 h 584"/>
                <a:gd name="T58" fmla="*/ 5 w 552"/>
                <a:gd name="T59" fmla="*/ 384 h 584"/>
                <a:gd name="T60" fmla="*/ 4 w 552"/>
                <a:gd name="T61" fmla="*/ 381 h 584"/>
                <a:gd name="T62" fmla="*/ 3 w 552"/>
                <a:gd name="T63" fmla="*/ 363 h 584"/>
                <a:gd name="T64" fmla="*/ 12 w 552"/>
                <a:gd name="T65" fmla="*/ 318 h 584"/>
                <a:gd name="T66" fmla="*/ 25 w 552"/>
                <a:gd name="T67" fmla="*/ 266 h 584"/>
                <a:gd name="T68" fmla="*/ 24 w 552"/>
                <a:gd name="T69" fmla="*/ 236 h 584"/>
                <a:gd name="T70" fmla="*/ 18 w 552"/>
                <a:gd name="T71" fmla="*/ 210 h 584"/>
                <a:gd name="T72" fmla="*/ 20 w 552"/>
                <a:gd name="T73" fmla="*/ 171 h 584"/>
                <a:gd name="T74" fmla="*/ 26 w 552"/>
                <a:gd name="T75" fmla="*/ 129 h 584"/>
                <a:gd name="T76" fmla="*/ 35 w 552"/>
                <a:gd name="T77" fmla="*/ 93 h 584"/>
                <a:gd name="T78" fmla="*/ 46 w 552"/>
                <a:gd name="T79" fmla="*/ 63 h 584"/>
                <a:gd name="T80" fmla="*/ 59 w 552"/>
                <a:gd name="T81" fmla="*/ 39 h 584"/>
                <a:gd name="T82" fmla="*/ 75 w 552"/>
                <a:gd name="T83" fmla="*/ 20 h 584"/>
                <a:gd name="T84" fmla="*/ 94 w 552"/>
                <a:gd name="T85" fmla="*/ 8 h 584"/>
                <a:gd name="T86" fmla="*/ 114 w 552"/>
                <a:gd name="T87" fmla="*/ 1 h 58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52"/>
                <a:gd name="T133" fmla="*/ 0 h 584"/>
                <a:gd name="T134" fmla="*/ 552 w 552"/>
                <a:gd name="T135" fmla="*/ 584 h 58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52" h="584">
                  <a:moveTo>
                    <a:pt x="286" y="0"/>
                  </a:moveTo>
                  <a:lnTo>
                    <a:pt x="329" y="2"/>
                  </a:lnTo>
                  <a:lnTo>
                    <a:pt x="366" y="7"/>
                  </a:lnTo>
                  <a:lnTo>
                    <a:pt x="399" y="14"/>
                  </a:lnTo>
                  <a:lnTo>
                    <a:pt x="427" y="23"/>
                  </a:lnTo>
                  <a:lnTo>
                    <a:pt x="452" y="32"/>
                  </a:lnTo>
                  <a:lnTo>
                    <a:pt x="471" y="45"/>
                  </a:lnTo>
                  <a:lnTo>
                    <a:pt x="488" y="58"/>
                  </a:lnTo>
                  <a:lnTo>
                    <a:pt x="502" y="73"/>
                  </a:lnTo>
                  <a:lnTo>
                    <a:pt x="514" y="88"/>
                  </a:lnTo>
                  <a:lnTo>
                    <a:pt x="522" y="105"/>
                  </a:lnTo>
                  <a:lnTo>
                    <a:pt x="530" y="122"/>
                  </a:lnTo>
                  <a:lnTo>
                    <a:pt x="535" y="141"/>
                  </a:lnTo>
                  <a:lnTo>
                    <a:pt x="540" y="159"/>
                  </a:lnTo>
                  <a:lnTo>
                    <a:pt x="544" y="178"/>
                  </a:lnTo>
                  <a:lnTo>
                    <a:pt x="549" y="216"/>
                  </a:lnTo>
                  <a:lnTo>
                    <a:pt x="551" y="239"/>
                  </a:lnTo>
                  <a:lnTo>
                    <a:pt x="549" y="260"/>
                  </a:lnTo>
                  <a:lnTo>
                    <a:pt x="545" y="278"/>
                  </a:lnTo>
                  <a:lnTo>
                    <a:pt x="539" y="295"/>
                  </a:lnTo>
                  <a:lnTo>
                    <a:pt x="532" y="311"/>
                  </a:lnTo>
                  <a:lnTo>
                    <a:pt x="524" y="325"/>
                  </a:lnTo>
                  <a:lnTo>
                    <a:pt x="504" y="352"/>
                  </a:lnTo>
                  <a:lnTo>
                    <a:pt x="484" y="378"/>
                  </a:lnTo>
                  <a:lnTo>
                    <a:pt x="467" y="407"/>
                  </a:lnTo>
                  <a:lnTo>
                    <a:pt x="460" y="422"/>
                  </a:lnTo>
                  <a:lnTo>
                    <a:pt x="454" y="440"/>
                  </a:lnTo>
                  <a:lnTo>
                    <a:pt x="450" y="460"/>
                  </a:lnTo>
                  <a:lnTo>
                    <a:pt x="448" y="481"/>
                  </a:lnTo>
                  <a:lnTo>
                    <a:pt x="453" y="503"/>
                  </a:lnTo>
                  <a:lnTo>
                    <a:pt x="455" y="527"/>
                  </a:lnTo>
                  <a:lnTo>
                    <a:pt x="456" y="552"/>
                  </a:lnTo>
                  <a:lnTo>
                    <a:pt x="456" y="580"/>
                  </a:lnTo>
                  <a:lnTo>
                    <a:pt x="370" y="583"/>
                  </a:lnTo>
                  <a:lnTo>
                    <a:pt x="284" y="582"/>
                  </a:lnTo>
                  <a:lnTo>
                    <a:pt x="173" y="580"/>
                  </a:lnTo>
                  <a:lnTo>
                    <a:pt x="171" y="542"/>
                  </a:lnTo>
                  <a:lnTo>
                    <a:pt x="170" y="534"/>
                  </a:lnTo>
                  <a:lnTo>
                    <a:pt x="168" y="531"/>
                  </a:lnTo>
                  <a:lnTo>
                    <a:pt x="118" y="532"/>
                  </a:lnTo>
                  <a:lnTo>
                    <a:pt x="93" y="531"/>
                  </a:lnTo>
                  <a:lnTo>
                    <a:pt x="68" y="530"/>
                  </a:lnTo>
                  <a:lnTo>
                    <a:pt x="61" y="526"/>
                  </a:lnTo>
                  <a:lnTo>
                    <a:pt x="55" y="521"/>
                  </a:lnTo>
                  <a:lnTo>
                    <a:pt x="50" y="513"/>
                  </a:lnTo>
                  <a:lnTo>
                    <a:pt x="46" y="505"/>
                  </a:lnTo>
                  <a:lnTo>
                    <a:pt x="49" y="478"/>
                  </a:lnTo>
                  <a:lnTo>
                    <a:pt x="46" y="456"/>
                  </a:lnTo>
                  <a:lnTo>
                    <a:pt x="44" y="448"/>
                  </a:lnTo>
                  <a:lnTo>
                    <a:pt x="42" y="441"/>
                  </a:lnTo>
                  <a:lnTo>
                    <a:pt x="44" y="435"/>
                  </a:lnTo>
                  <a:lnTo>
                    <a:pt x="46" y="431"/>
                  </a:lnTo>
                  <a:lnTo>
                    <a:pt x="40" y="425"/>
                  </a:lnTo>
                  <a:lnTo>
                    <a:pt x="36" y="421"/>
                  </a:lnTo>
                  <a:lnTo>
                    <a:pt x="35" y="416"/>
                  </a:lnTo>
                  <a:lnTo>
                    <a:pt x="36" y="410"/>
                  </a:lnTo>
                  <a:lnTo>
                    <a:pt x="38" y="397"/>
                  </a:lnTo>
                  <a:lnTo>
                    <a:pt x="39" y="391"/>
                  </a:lnTo>
                  <a:lnTo>
                    <a:pt x="38" y="385"/>
                  </a:lnTo>
                  <a:lnTo>
                    <a:pt x="12" y="384"/>
                  </a:lnTo>
                  <a:lnTo>
                    <a:pt x="8" y="383"/>
                  </a:lnTo>
                  <a:lnTo>
                    <a:pt x="5" y="381"/>
                  </a:lnTo>
                  <a:lnTo>
                    <a:pt x="0" y="374"/>
                  </a:lnTo>
                  <a:lnTo>
                    <a:pt x="3" y="363"/>
                  </a:lnTo>
                  <a:lnTo>
                    <a:pt x="9" y="350"/>
                  </a:lnTo>
                  <a:lnTo>
                    <a:pt x="29" y="318"/>
                  </a:lnTo>
                  <a:lnTo>
                    <a:pt x="49" y="283"/>
                  </a:lnTo>
                  <a:lnTo>
                    <a:pt x="56" y="266"/>
                  </a:lnTo>
                  <a:lnTo>
                    <a:pt x="59" y="250"/>
                  </a:lnTo>
                  <a:lnTo>
                    <a:pt x="55" y="236"/>
                  </a:lnTo>
                  <a:lnTo>
                    <a:pt x="48" y="224"/>
                  </a:lnTo>
                  <a:lnTo>
                    <a:pt x="42" y="210"/>
                  </a:lnTo>
                  <a:lnTo>
                    <a:pt x="38" y="195"/>
                  </a:lnTo>
                  <a:lnTo>
                    <a:pt x="44" y="171"/>
                  </a:lnTo>
                  <a:lnTo>
                    <a:pt x="51" y="150"/>
                  </a:lnTo>
                  <a:lnTo>
                    <a:pt x="60" y="129"/>
                  </a:lnTo>
                  <a:lnTo>
                    <a:pt x="69" y="111"/>
                  </a:lnTo>
                  <a:lnTo>
                    <a:pt x="80" y="93"/>
                  </a:lnTo>
                  <a:lnTo>
                    <a:pt x="92" y="78"/>
                  </a:lnTo>
                  <a:lnTo>
                    <a:pt x="106" y="63"/>
                  </a:lnTo>
                  <a:lnTo>
                    <a:pt x="120" y="50"/>
                  </a:lnTo>
                  <a:lnTo>
                    <a:pt x="137" y="39"/>
                  </a:lnTo>
                  <a:lnTo>
                    <a:pt x="154" y="29"/>
                  </a:lnTo>
                  <a:lnTo>
                    <a:pt x="173" y="20"/>
                  </a:lnTo>
                  <a:lnTo>
                    <a:pt x="193" y="13"/>
                  </a:lnTo>
                  <a:lnTo>
                    <a:pt x="215" y="8"/>
                  </a:lnTo>
                  <a:lnTo>
                    <a:pt x="237" y="3"/>
                  </a:lnTo>
                  <a:lnTo>
                    <a:pt x="261" y="1"/>
                  </a:lnTo>
                  <a:lnTo>
                    <a:pt x="286" y="0"/>
                  </a:lnTo>
                </a:path>
              </a:pathLst>
            </a:custGeom>
            <a:solidFill>
              <a:srgbClr val="FF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842" y="2089"/>
              <a:ext cx="267" cy="288"/>
            </a:xfrm>
            <a:custGeom>
              <a:avLst/>
              <a:gdLst>
                <a:gd name="T0" fmla="*/ 129 w 301"/>
                <a:gd name="T1" fmla="*/ 225 h 288"/>
                <a:gd name="T2" fmla="*/ 128 w 301"/>
                <a:gd name="T3" fmla="*/ 134 h 288"/>
                <a:gd name="T4" fmla="*/ 122 w 301"/>
                <a:gd name="T5" fmla="*/ 91 h 288"/>
                <a:gd name="T6" fmla="*/ 114 w 301"/>
                <a:gd name="T7" fmla="*/ 58 h 288"/>
                <a:gd name="T8" fmla="*/ 106 w 301"/>
                <a:gd name="T9" fmla="*/ 34 h 288"/>
                <a:gd name="T10" fmla="*/ 95 w 301"/>
                <a:gd name="T11" fmla="*/ 17 h 288"/>
                <a:gd name="T12" fmla="*/ 83 w 301"/>
                <a:gd name="T13" fmla="*/ 7 h 288"/>
                <a:gd name="T14" fmla="*/ 67 w 301"/>
                <a:gd name="T15" fmla="*/ 1 h 288"/>
                <a:gd name="T16" fmla="*/ 47 w 301"/>
                <a:gd name="T17" fmla="*/ 1 h 288"/>
                <a:gd name="T18" fmla="*/ 34 w 301"/>
                <a:gd name="T19" fmla="*/ 6 h 288"/>
                <a:gd name="T20" fmla="*/ 22 w 301"/>
                <a:gd name="T21" fmla="*/ 17 h 288"/>
                <a:gd name="T22" fmla="*/ 11 w 301"/>
                <a:gd name="T23" fmla="*/ 39 h 288"/>
                <a:gd name="T24" fmla="*/ 4 w 301"/>
                <a:gd name="T25" fmla="*/ 68 h 288"/>
                <a:gd name="T26" fmla="*/ 2 w 301"/>
                <a:gd name="T27" fmla="*/ 86 h 288"/>
                <a:gd name="T28" fmla="*/ 4 w 301"/>
                <a:gd name="T29" fmla="*/ 87 h 288"/>
                <a:gd name="T30" fmla="*/ 21 w 301"/>
                <a:gd name="T31" fmla="*/ 81 h 288"/>
                <a:gd name="T32" fmla="*/ 52 w 301"/>
                <a:gd name="T33" fmla="*/ 81 h 288"/>
                <a:gd name="T34" fmla="*/ 81 w 301"/>
                <a:gd name="T35" fmla="*/ 95 h 288"/>
                <a:gd name="T36" fmla="*/ 100 w 301"/>
                <a:gd name="T37" fmla="*/ 115 h 288"/>
                <a:gd name="T38" fmla="*/ 109 w 301"/>
                <a:gd name="T39" fmla="*/ 134 h 288"/>
                <a:gd name="T40" fmla="*/ 109 w 301"/>
                <a:gd name="T41" fmla="*/ 141 h 288"/>
                <a:gd name="T42" fmla="*/ 102 w 301"/>
                <a:gd name="T43" fmla="*/ 139 h 288"/>
                <a:gd name="T44" fmla="*/ 75 w 301"/>
                <a:gd name="T45" fmla="*/ 116 h 288"/>
                <a:gd name="T46" fmla="*/ 48 w 301"/>
                <a:gd name="T47" fmla="*/ 101 h 288"/>
                <a:gd name="T48" fmla="*/ 20 w 301"/>
                <a:gd name="T49" fmla="*/ 101 h 288"/>
                <a:gd name="T50" fmla="*/ 4 w 301"/>
                <a:gd name="T51" fmla="*/ 109 h 288"/>
                <a:gd name="T52" fmla="*/ 0 w 301"/>
                <a:gd name="T53" fmla="*/ 116 h 288"/>
                <a:gd name="T54" fmla="*/ 3 w 301"/>
                <a:gd name="T55" fmla="*/ 120 h 288"/>
                <a:gd name="T56" fmla="*/ 8 w 301"/>
                <a:gd name="T57" fmla="*/ 129 h 288"/>
                <a:gd name="T58" fmla="*/ 8 w 301"/>
                <a:gd name="T59" fmla="*/ 138 h 288"/>
                <a:gd name="T60" fmla="*/ 4 w 301"/>
                <a:gd name="T61" fmla="*/ 141 h 288"/>
                <a:gd name="T62" fmla="*/ 4 w 301"/>
                <a:gd name="T63" fmla="*/ 157 h 288"/>
                <a:gd name="T64" fmla="*/ 7 w 301"/>
                <a:gd name="T65" fmla="*/ 165 h 288"/>
                <a:gd name="T66" fmla="*/ 32 w 301"/>
                <a:gd name="T67" fmla="*/ 136 h 288"/>
                <a:gd name="T68" fmla="*/ 52 w 301"/>
                <a:gd name="T69" fmla="*/ 130 h 288"/>
                <a:gd name="T70" fmla="*/ 69 w 301"/>
                <a:gd name="T71" fmla="*/ 134 h 288"/>
                <a:gd name="T72" fmla="*/ 96 w 301"/>
                <a:gd name="T73" fmla="*/ 157 h 288"/>
                <a:gd name="T74" fmla="*/ 101 w 301"/>
                <a:gd name="T75" fmla="*/ 167 h 288"/>
                <a:gd name="T76" fmla="*/ 100 w 301"/>
                <a:gd name="T77" fmla="*/ 177 h 288"/>
                <a:gd name="T78" fmla="*/ 91 w 301"/>
                <a:gd name="T79" fmla="*/ 199 h 288"/>
                <a:gd name="T80" fmla="*/ 90 w 301"/>
                <a:gd name="T81" fmla="*/ 213 h 288"/>
                <a:gd name="T82" fmla="*/ 107 w 301"/>
                <a:gd name="T83" fmla="*/ 286 h 288"/>
                <a:gd name="T84" fmla="*/ 116 w 301"/>
                <a:gd name="T85" fmla="*/ 190 h 288"/>
                <a:gd name="T86" fmla="*/ 129 w 301"/>
                <a:gd name="T87" fmla="*/ 286 h 28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01"/>
                <a:gd name="T133" fmla="*/ 0 h 288"/>
                <a:gd name="T134" fmla="*/ 301 w 301"/>
                <a:gd name="T135" fmla="*/ 288 h 28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01" h="288">
                  <a:moveTo>
                    <a:pt x="299" y="286"/>
                  </a:moveTo>
                  <a:lnTo>
                    <a:pt x="300" y="225"/>
                  </a:lnTo>
                  <a:lnTo>
                    <a:pt x="299" y="160"/>
                  </a:lnTo>
                  <a:lnTo>
                    <a:pt x="295" y="134"/>
                  </a:lnTo>
                  <a:lnTo>
                    <a:pt x="290" y="111"/>
                  </a:lnTo>
                  <a:lnTo>
                    <a:pt x="283" y="91"/>
                  </a:lnTo>
                  <a:lnTo>
                    <a:pt x="274" y="74"/>
                  </a:lnTo>
                  <a:lnTo>
                    <a:pt x="265" y="58"/>
                  </a:lnTo>
                  <a:lnTo>
                    <a:pt x="255" y="45"/>
                  </a:lnTo>
                  <a:lnTo>
                    <a:pt x="244" y="34"/>
                  </a:lnTo>
                  <a:lnTo>
                    <a:pt x="231" y="25"/>
                  </a:lnTo>
                  <a:lnTo>
                    <a:pt x="219" y="17"/>
                  </a:lnTo>
                  <a:lnTo>
                    <a:pt x="207" y="12"/>
                  </a:lnTo>
                  <a:lnTo>
                    <a:pt x="193" y="7"/>
                  </a:lnTo>
                  <a:lnTo>
                    <a:pt x="180" y="4"/>
                  </a:lnTo>
                  <a:lnTo>
                    <a:pt x="154" y="1"/>
                  </a:lnTo>
                  <a:lnTo>
                    <a:pt x="129" y="0"/>
                  </a:lnTo>
                  <a:lnTo>
                    <a:pt x="110" y="1"/>
                  </a:lnTo>
                  <a:lnTo>
                    <a:pt x="93" y="2"/>
                  </a:lnTo>
                  <a:lnTo>
                    <a:pt x="78" y="6"/>
                  </a:lnTo>
                  <a:lnTo>
                    <a:pt x="64" y="12"/>
                  </a:lnTo>
                  <a:lnTo>
                    <a:pt x="52" y="17"/>
                  </a:lnTo>
                  <a:lnTo>
                    <a:pt x="41" y="24"/>
                  </a:lnTo>
                  <a:lnTo>
                    <a:pt x="25" y="39"/>
                  </a:lnTo>
                  <a:lnTo>
                    <a:pt x="13" y="54"/>
                  </a:lnTo>
                  <a:lnTo>
                    <a:pt x="5" y="68"/>
                  </a:lnTo>
                  <a:lnTo>
                    <a:pt x="2" y="80"/>
                  </a:lnTo>
                  <a:lnTo>
                    <a:pt x="2" y="86"/>
                  </a:lnTo>
                  <a:lnTo>
                    <a:pt x="4" y="87"/>
                  </a:lnTo>
                  <a:lnTo>
                    <a:pt x="9" y="87"/>
                  </a:lnTo>
                  <a:lnTo>
                    <a:pt x="26" y="84"/>
                  </a:lnTo>
                  <a:lnTo>
                    <a:pt x="51" y="81"/>
                  </a:lnTo>
                  <a:lnTo>
                    <a:pt x="83" y="80"/>
                  </a:lnTo>
                  <a:lnTo>
                    <a:pt x="123" y="81"/>
                  </a:lnTo>
                  <a:lnTo>
                    <a:pt x="158" y="86"/>
                  </a:lnTo>
                  <a:lnTo>
                    <a:pt x="188" y="95"/>
                  </a:lnTo>
                  <a:lnTo>
                    <a:pt x="212" y="105"/>
                  </a:lnTo>
                  <a:lnTo>
                    <a:pt x="231" y="115"/>
                  </a:lnTo>
                  <a:lnTo>
                    <a:pt x="245" y="126"/>
                  </a:lnTo>
                  <a:lnTo>
                    <a:pt x="253" y="134"/>
                  </a:lnTo>
                  <a:lnTo>
                    <a:pt x="255" y="139"/>
                  </a:lnTo>
                  <a:lnTo>
                    <a:pt x="253" y="141"/>
                  </a:lnTo>
                  <a:lnTo>
                    <a:pt x="249" y="142"/>
                  </a:lnTo>
                  <a:lnTo>
                    <a:pt x="237" y="139"/>
                  </a:lnTo>
                  <a:lnTo>
                    <a:pt x="198" y="125"/>
                  </a:lnTo>
                  <a:lnTo>
                    <a:pt x="173" y="116"/>
                  </a:lnTo>
                  <a:lnTo>
                    <a:pt x="144" y="108"/>
                  </a:lnTo>
                  <a:lnTo>
                    <a:pt x="112" y="101"/>
                  </a:lnTo>
                  <a:lnTo>
                    <a:pt x="76" y="99"/>
                  </a:lnTo>
                  <a:lnTo>
                    <a:pt x="47" y="101"/>
                  </a:lnTo>
                  <a:lnTo>
                    <a:pt x="23" y="104"/>
                  </a:lnTo>
                  <a:lnTo>
                    <a:pt x="6" y="109"/>
                  </a:lnTo>
                  <a:lnTo>
                    <a:pt x="2" y="112"/>
                  </a:lnTo>
                  <a:lnTo>
                    <a:pt x="0" y="116"/>
                  </a:lnTo>
                  <a:lnTo>
                    <a:pt x="1" y="118"/>
                  </a:lnTo>
                  <a:lnTo>
                    <a:pt x="3" y="120"/>
                  </a:lnTo>
                  <a:lnTo>
                    <a:pt x="10" y="125"/>
                  </a:lnTo>
                  <a:lnTo>
                    <a:pt x="17" y="129"/>
                  </a:lnTo>
                  <a:lnTo>
                    <a:pt x="19" y="135"/>
                  </a:lnTo>
                  <a:lnTo>
                    <a:pt x="17" y="138"/>
                  </a:lnTo>
                  <a:lnTo>
                    <a:pt x="14" y="139"/>
                  </a:lnTo>
                  <a:lnTo>
                    <a:pt x="10" y="141"/>
                  </a:lnTo>
                  <a:lnTo>
                    <a:pt x="6" y="145"/>
                  </a:lnTo>
                  <a:lnTo>
                    <a:pt x="9" y="157"/>
                  </a:lnTo>
                  <a:lnTo>
                    <a:pt x="12" y="161"/>
                  </a:lnTo>
                  <a:lnTo>
                    <a:pt x="15" y="165"/>
                  </a:lnTo>
                  <a:lnTo>
                    <a:pt x="46" y="147"/>
                  </a:lnTo>
                  <a:lnTo>
                    <a:pt x="74" y="136"/>
                  </a:lnTo>
                  <a:lnTo>
                    <a:pt x="100" y="131"/>
                  </a:lnTo>
                  <a:lnTo>
                    <a:pt x="123" y="130"/>
                  </a:lnTo>
                  <a:lnTo>
                    <a:pt x="142" y="131"/>
                  </a:lnTo>
                  <a:lnTo>
                    <a:pt x="160" y="134"/>
                  </a:lnTo>
                  <a:lnTo>
                    <a:pt x="195" y="145"/>
                  </a:lnTo>
                  <a:lnTo>
                    <a:pt x="222" y="157"/>
                  </a:lnTo>
                  <a:lnTo>
                    <a:pt x="230" y="163"/>
                  </a:lnTo>
                  <a:lnTo>
                    <a:pt x="233" y="167"/>
                  </a:lnTo>
                  <a:lnTo>
                    <a:pt x="233" y="172"/>
                  </a:lnTo>
                  <a:lnTo>
                    <a:pt x="231" y="177"/>
                  </a:lnTo>
                  <a:lnTo>
                    <a:pt x="222" y="187"/>
                  </a:lnTo>
                  <a:lnTo>
                    <a:pt x="212" y="199"/>
                  </a:lnTo>
                  <a:lnTo>
                    <a:pt x="209" y="206"/>
                  </a:lnTo>
                  <a:lnTo>
                    <a:pt x="207" y="213"/>
                  </a:lnTo>
                  <a:lnTo>
                    <a:pt x="207" y="285"/>
                  </a:lnTo>
                  <a:lnTo>
                    <a:pt x="248" y="286"/>
                  </a:lnTo>
                  <a:lnTo>
                    <a:pt x="257" y="287"/>
                  </a:lnTo>
                  <a:lnTo>
                    <a:pt x="269" y="190"/>
                  </a:lnTo>
                  <a:lnTo>
                    <a:pt x="257" y="287"/>
                  </a:lnTo>
                  <a:lnTo>
                    <a:pt x="299" y="286"/>
                  </a:ln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1842" y="2089"/>
              <a:ext cx="270" cy="290"/>
            </a:xfrm>
            <a:custGeom>
              <a:avLst/>
              <a:gdLst>
                <a:gd name="T0" fmla="*/ 131 w 304"/>
                <a:gd name="T1" fmla="*/ 228 h 290"/>
                <a:gd name="T2" fmla="*/ 131 w 304"/>
                <a:gd name="T3" fmla="*/ 136 h 290"/>
                <a:gd name="T4" fmla="*/ 124 w 304"/>
                <a:gd name="T5" fmla="*/ 92 h 290"/>
                <a:gd name="T6" fmla="*/ 116 w 304"/>
                <a:gd name="T7" fmla="*/ 59 h 290"/>
                <a:gd name="T8" fmla="*/ 107 w 304"/>
                <a:gd name="T9" fmla="*/ 34 h 290"/>
                <a:gd name="T10" fmla="*/ 97 w 304"/>
                <a:gd name="T11" fmla="*/ 17 h 290"/>
                <a:gd name="T12" fmla="*/ 85 w 304"/>
                <a:gd name="T13" fmla="*/ 8 h 290"/>
                <a:gd name="T14" fmla="*/ 68 w 304"/>
                <a:gd name="T15" fmla="*/ 1 h 290"/>
                <a:gd name="T16" fmla="*/ 48 w 304"/>
                <a:gd name="T17" fmla="*/ 1 h 290"/>
                <a:gd name="T18" fmla="*/ 35 w 304"/>
                <a:gd name="T19" fmla="*/ 6 h 290"/>
                <a:gd name="T20" fmla="*/ 23 w 304"/>
                <a:gd name="T21" fmla="*/ 17 h 290"/>
                <a:gd name="T22" fmla="*/ 11 w 304"/>
                <a:gd name="T23" fmla="*/ 39 h 290"/>
                <a:gd name="T24" fmla="*/ 4 w 304"/>
                <a:gd name="T25" fmla="*/ 69 h 290"/>
                <a:gd name="T26" fmla="*/ 2 w 304"/>
                <a:gd name="T27" fmla="*/ 87 h 290"/>
                <a:gd name="T28" fmla="*/ 4 w 304"/>
                <a:gd name="T29" fmla="*/ 88 h 290"/>
                <a:gd name="T30" fmla="*/ 22 w 304"/>
                <a:gd name="T31" fmla="*/ 82 h 290"/>
                <a:gd name="T32" fmla="*/ 53 w 304"/>
                <a:gd name="T33" fmla="*/ 82 h 290"/>
                <a:gd name="T34" fmla="*/ 83 w 304"/>
                <a:gd name="T35" fmla="*/ 96 h 290"/>
                <a:gd name="T36" fmla="*/ 102 w 304"/>
                <a:gd name="T37" fmla="*/ 117 h 290"/>
                <a:gd name="T38" fmla="*/ 111 w 304"/>
                <a:gd name="T39" fmla="*/ 135 h 290"/>
                <a:gd name="T40" fmla="*/ 111 w 304"/>
                <a:gd name="T41" fmla="*/ 143 h 290"/>
                <a:gd name="T42" fmla="*/ 103 w 304"/>
                <a:gd name="T43" fmla="*/ 140 h 290"/>
                <a:gd name="T44" fmla="*/ 76 w 304"/>
                <a:gd name="T45" fmla="*/ 117 h 290"/>
                <a:gd name="T46" fmla="*/ 49 w 304"/>
                <a:gd name="T47" fmla="*/ 103 h 290"/>
                <a:gd name="T48" fmla="*/ 20 w 304"/>
                <a:gd name="T49" fmla="*/ 102 h 290"/>
                <a:gd name="T50" fmla="*/ 4 w 304"/>
                <a:gd name="T51" fmla="*/ 111 h 290"/>
                <a:gd name="T52" fmla="*/ 0 w 304"/>
                <a:gd name="T53" fmla="*/ 117 h 290"/>
                <a:gd name="T54" fmla="*/ 3 w 304"/>
                <a:gd name="T55" fmla="*/ 122 h 290"/>
                <a:gd name="T56" fmla="*/ 8 w 304"/>
                <a:gd name="T57" fmla="*/ 131 h 290"/>
                <a:gd name="T58" fmla="*/ 8 w 304"/>
                <a:gd name="T59" fmla="*/ 139 h 290"/>
                <a:gd name="T60" fmla="*/ 4 w 304"/>
                <a:gd name="T61" fmla="*/ 143 h 290"/>
                <a:gd name="T62" fmla="*/ 4 w 304"/>
                <a:gd name="T63" fmla="*/ 158 h 290"/>
                <a:gd name="T64" fmla="*/ 7 w 304"/>
                <a:gd name="T65" fmla="*/ 167 h 290"/>
                <a:gd name="T66" fmla="*/ 33 w 304"/>
                <a:gd name="T67" fmla="*/ 138 h 290"/>
                <a:gd name="T68" fmla="*/ 53 w 304"/>
                <a:gd name="T69" fmla="*/ 131 h 290"/>
                <a:gd name="T70" fmla="*/ 86 w 304"/>
                <a:gd name="T71" fmla="*/ 147 h 290"/>
                <a:gd name="T72" fmla="*/ 102 w 304"/>
                <a:gd name="T73" fmla="*/ 164 h 290"/>
                <a:gd name="T74" fmla="*/ 103 w 304"/>
                <a:gd name="T75" fmla="*/ 174 h 290"/>
                <a:gd name="T76" fmla="*/ 98 w 304"/>
                <a:gd name="T77" fmla="*/ 189 h 290"/>
                <a:gd name="T78" fmla="*/ 91 w 304"/>
                <a:gd name="T79" fmla="*/ 208 h 290"/>
                <a:gd name="T80" fmla="*/ 91 w 304"/>
                <a:gd name="T81" fmla="*/ 288 h 29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4"/>
                <a:gd name="T124" fmla="*/ 0 h 290"/>
                <a:gd name="T125" fmla="*/ 304 w 304"/>
                <a:gd name="T126" fmla="*/ 290 h 29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4" h="290">
                  <a:moveTo>
                    <a:pt x="302" y="289"/>
                  </a:moveTo>
                  <a:lnTo>
                    <a:pt x="303" y="228"/>
                  </a:lnTo>
                  <a:lnTo>
                    <a:pt x="302" y="162"/>
                  </a:lnTo>
                  <a:lnTo>
                    <a:pt x="298" y="136"/>
                  </a:lnTo>
                  <a:lnTo>
                    <a:pt x="293" y="112"/>
                  </a:lnTo>
                  <a:lnTo>
                    <a:pt x="285" y="92"/>
                  </a:lnTo>
                  <a:lnTo>
                    <a:pt x="277" y="75"/>
                  </a:lnTo>
                  <a:lnTo>
                    <a:pt x="268" y="59"/>
                  </a:lnTo>
                  <a:lnTo>
                    <a:pt x="257" y="45"/>
                  </a:lnTo>
                  <a:lnTo>
                    <a:pt x="246" y="34"/>
                  </a:lnTo>
                  <a:lnTo>
                    <a:pt x="234" y="25"/>
                  </a:lnTo>
                  <a:lnTo>
                    <a:pt x="221" y="17"/>
                  </a:lnTo>
                  <a:lnTo>
                    <a:pt x="209" y="12"/>
                  </a:lnTo>
                  <a:lnTo>
                    <a:pt x="195" y="8"/>
                  </a:lnTo>
                  <a:lnTo>
                    <a:pt x="182" y="4"/>
                  </a:lnTo>
                  <a:lnTo>
                    <a:pt x="155" y="1"/>
                  </a:lnTo>
                  <a:lnTo>
                    <a:pt x="130" y="0"/>
                  </a:lnTo>
                  <a:lnTo>
                    <a:pt x="111" y="1"/>
                  </a:lnTo>
                  <a:lnTo>
                    <a:pt x="94" y="2"/>
                  </a:lnTo>
                  <a:lnTo>
                    <a:pt x="79" y="6"/>
                  </a:lnTo>
                  <a:lnTo>
                    <a:pt x="65" y="12"/>
                  </a:lnTo>
                  <a:lnTo>
                    <a:pt x="53" y="17"/>
                  </a:lnTo>
                  <a:lnTo>
                    <a:pt x="42" y="24"/>
                  </a:lnTo>
                  <a:lnTo>
                    <a:pt x="25" y="39"/>
                  </a:lnTo>
                  <a:lnTo>
                    <a:pt x="13" y="54"/>
                  </a:lnTo>
                  <a:lnTo>
                    <a:pt x="5" y="69"/>
                  </a:lnTo>
                  <a:lnTo>
                    <a:pt x="2" y="80"/>
                  </a:lnTo>
                  <a:lnTo>
                    <a:pt x="2" y="87"/>
                  </a:lnTo>
                  <a:lnTo>
                    <a:pt x="4" y="88"/>
                  </a:lnTo>
                  <a:lnTo>
                    <a:pt x="9" y="88"/>
                  </a:lnTo>
                  <a:lnTo>
                    <a:pt x="26" y="85"/>
                  </a:lnTo>
                  <a:lnTo>
                    <a:pt x="52" y="82"/>
                  </a:lnTo>
                  <a:lnTo>
                    <a:pt x="84" y="80"/>
                  </a:lnTo>
                  <a:lnTo>
                    <a:pt x="124" y="82"/>
                  </a:lnTo>
                  <a:lnTo>
                    <a:pt x="159" y="87"/>
                  </a:lnTo>
                  <a:lnTo>
                    <a:pt x="190" y="96"/>
                  </a:lnTo>
                  <a:lnTo>
                    <a:pt x="214" y="106"/>
                  </a:lnTo>
                  <a:lnTo>
                    <a:pt x="234" y="117"/>
                  </a:lnTo>
                  <a:lnTo>
                    <a:pt x="247" y="127"/>
                  </a:lnTo>
                  <a:lnTo>
                    <a:pt x="256" y="135"/>
                  </a:lnTo>
                  <a:lnTo>
                    <a:pt x="257" y="141"/>
                  </a:lnTo>
                  <a:lnTo>
                    <a:pt x="255" y="143"/>
                  </a:lnTo>
                  <a:lnTo>
                    <a:pt x="251" y="143"/>
                  </a:lnTo>
                  <a:lnTo>
                    <a:pt x="239" y="140"/>
                  </a:lnTo>
                  <a:lnTo>
                    <a:pt x="200" y="126"/>
                  </a:lnTo>
                  <a:lnTo>
                    <a:pt x="175" y="117"/>
                  </a:lnTo>
                  <a:lnTo>
                    <a:pt x="146" y="109"/>
                  </a:lnTo>
                  <a:lnTo>
                    <a:pt x="113" y="103"/>
                  </a:lnTo>
                  <a:lnTo>
                    <a:pt x="77" y="100"/>
                  </a:lnTo>
                  <a:lnTo>
                    <a:pt x="47" y="102"/>
                  </a:lnTo>
                  <a:lnTo>
                    <a:pt x="23" y="105"/>
                  </a:lnTo>
                  <a:lnTo>
                    <a:pt x="7" y="111"/>
                  </a:lnTo>
                  <a:lnTo>
                    <a:pt x="2" y="114"/>
                  </a:lnTo>
                  <a:lnTo>
                    <a:pt x="0" y="117"/>
                  </a:lnTo>
                  <a:lnTo>
                    <a:pt x="1" y="119"/>
                  </a:lnTo>
                  <a:lnTo>
                    <a:pt x="3" y="122"/>
                  </a:lnTo>
                  <a:lnTo>
                    <a:pt x="10" y="126"/>
                  </a:lnTo>
                  <a:lnTo>
                    <a:pt x="17" y="131"/>
                  </a:lnTo>
                  <a:lnTo>
                    <a:pt x="20" y="136"/>
                  </a:lnTo>
                  <a:lnTo>
                    <a:pt x="18" y="139"/>
                  </a:lnTo>
                  <a:lnTo>
                    <a:pt x="14" y="141"/>
                  </a:lnTo>
                  <a:lnTo>
                    <a:pt x="10" y="143"/>
                  </a:lnTo>
                  <a:lnTo>
                    <a:pt x="7" y="146"/>
                  </a:lnTo>
                  <a:lnTo>
                    <a:pt x="9" y="158"/>
                  </a:lnTo>
                  <a:lnTo>
                    <a:pt x="12" y="163"/>
                  </a:lnTo>
                  <a:lnTo>
                    <a:pt x="15" y="167"/>
                  </a:lnTo>
                  <a:lnTo>
                    <a:pt x="46" y="149"/>
                  </a:lnTo>
                  <a:lnTo>
                    <a:pt x="75" y="138"/>
                  </a:lnTo>
                  <a:lnTo>
                    <a:pt x="101" y="132"/>
                  </a:lnTo>
                  <a:lnTo>
                    <a:pt x="124" y="131"/>
                  </a:lnTo>
                  <a:lnTo>
                    <a:pt x="162" y="137"/>
                  </a:lnTo>
                  <a:lnTo>
                    <a:pt x="198" y="147"/>
                  </a:lnTo>
                  <a:lnTo>
                    <a:pt x="225" y="159"/>
                  </a:lnTo>
                  <a:lnTo>
                    <a:pt x="232" y="164"/>
                  </a:lnTo>
                  <a:lnTo>
                    <a:pt x="236" y="168"/>
                  </a:lnTo>
                  <a:lnTo>
                    <a:pt x="236" y="174"/>
                  </a:lnTo>
                  <a:lnTo>
                    <a:pt x="233" y="179"/>
                  </a:lnTo>
                  <a:lnTo>
                    <a:pt x="225" y="189"/>
                  </a:lnTo>
                  <a:lnTo>
                    <a:pt x="214" y="202"/>
                  </a:lnTo>
                  <a:lnTo>
                    <a:pt x="211" y="208"/>
                  </a:lnTo>
                  <a:lnTo>
                    <a:pt x="209" y="216"/>
                  </a:lnTo>
                  <a:lnTo>
                    <a:pt x="209" y="288"/>
                  </a:lnTo>
                </a:path>
              </a:pathLst>
            </a:custGeom>
            <a:noFill/>
            <a:ln w="12700" cap="rnd" cmpd="sng">
              <a:solidFill>
                <a:srgbClr val="FF6030"/>
              </a:solidFill>
              <a:prstDash val="solid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6" name="Group 45"/>
          <p:cNvGrpSpPr>
            <a:grpSpLocks/>
          </p:cNvGrpSpPr>
          <p:nvPr/>
        </p:nvGrpSpPr>
        <p:grpSpPr bwMode="auto">
          <a:xfrm>
            <a:off x="3814932" y="2551484"/>
            <a:ext cx="1162544" cy="1530606"/>
            <a:chOff x="3125" y="1848"/>
            <a:chExt cx="680" cy="671"/>
          </a:xfrm>
        </p:grpSpPr>
        <p:sp>
          <p:nvSpPr>
            <p:cNvPr id="14" name="Freeform 46"/>
            <p:cNvSpPr>
              <a:spLocks/>
            </p:cNvSpPr>
            <p:nvPr/>
          </p:nvSpPr>
          <p:spPr bwMode="auto">
            <a:xfrm>
              <a:off x="3130" y="1848"/>
              <a:ext cx="314" cy="665"/>
            </a:xfrm>
            <a:custGeom>
              <a:avLst/>
              <a:gdLst>
                <a:gd name="T0" fmla="*/ 126 w 353"/>
                <a:gd name="T1" fmla="*/ 23 h 665"/>
                <a:gd name="T2" fmla="*/ 117 w 353"/>
                <a:gd name="T3" fmla="*/ 7 h 665"/>
                <a:gd name="T4" fmla="*/ 103 w 353"/>
                <a:gd name="T5" fmla="*/ 0 h 665"/>
                <a:gd name="T6" fmla="*/ 91 w 353"/>
                <a:gd name="T7" fmla="*/ 6 h 665"/>
                <a:gd name="T8" fmla="*/ 79 w 353"/>
                <a:gd name="T9" fmla="*/ 21 h 665"/>
                <a:gd name="T10" fmla="*/ 66 w 353"/>
                <a:gd name="T11" fmla="*/ 59 h 665"/>
                <a:gd name="T12" fmla="*/ 49 w 353"/>
                <a:gd name="T13" fmla="*/ 112 h 665"/>
                <a:gd name="T14" fmla="*/ 36 w 353"/>
                <a:gd name="T15" fmla="*/ 174 h 665"/>
                <a:gd name="T16" fmla="*/ 28 w 353"/>
                <a:gd name="T17" fmla="*/ 227 h 665"/>
                <a:gd name="T18" fmla="*/ 22 w 353"/>
                <a:gd name="T19" fmla="*/ 278 h 665"/>
                <a:gd name="T20" fmla="*/ 13 w 353"/>
                <a:gd name="T21" fmla="*/ 343 h 665"/>
                <a:gd name="T22" fmla="*/ 4 w 353"/>
                <a:gd name="T23" fmla="*/ 396 h 665"/>
                <a:gd name="T24" fmla="*/ 2 w 353"/>
                <a:gd name="T25" fmla="*/ 447 h 665"/>
                <a:gd name="T26" fmla="*/ 1 w 353"/>
                <a:gd name="T27" fmla="*/ 507 h 665"/>
                <a:gd name="T28" fmla="*/ 4 w 353"/>
                <a:gd name="T29" fmla="*/ 619 h 665"/>
                <a:gd name="T30" fmla="*/ 8 w 353"/>
                <a:gd name="T31" fmla="*/ 640 h 665"/>
                <a:gd name="T32" fmla="*/ 12 w 353"/>
                <a:gd name="T33" fmla="*/ 654 h 665"/>
                <a:gd name="T34" fmla="*/ 18 w 353"/>
                <a:gd name="T35" fmla="*/ 662 h 665"/>
                <a:gd name="T36" fmla="*/ 28 w 353"/>
                <a:gd name="T37" fmla="*/ 664 h 665"/>
                <a:gd name="T38" fmla="*/ 40 w 353"/>
                <a:gd name="T39" fmla="*/ 658 h 665"/>
                <a:gd name="T40" fmla="*/ 68 w 353"/>
                <a:gd name="T41" fmla="*/ 634 h 665"/>
                <a:gd name="T42" fmla="*/ 80 w 353"/>
                <a:gd name="T43" fmla="*/ 639 h 665"/>
                <a:gd name="T44" fmla="*/ 97 w 353"/>
                <a:gd name="T45" fmla="*/ 632 h 665"/>
                <a:gd name="T46" fmla="*/ 122 w 353"/>
                <a:gd name="T47" fmla="*/ 613 h 665"/>
                <a:gd name="T48" fmla="*/ 133 w 353"/>
                <a:gd name="T49" fmla="*/ 601 h 665"/>
                <a:gd name="T50" fmla="*/ 141 w 353"/>
                <a:gd name="T51" fmla="*/ 582 h 665"/>
                <a:gd name="T52" fmla="*/ 147 w 353"/>
                <a:gd name="T53" fmla="*/ 555 h 665"/>
                <a:gd name="T54" fmla="*/ 150 w 353"/>
                <a:gd name="T55" fmla="*/ 515 h 665"/>
                <a:gd name="T56" fmla="*/ 154 w 353"/>
                <a:gd name="T57" fmla="*/ 475 h 665"/>
                <a:gd name="T58" fmla="*/ 155 w 353"/>
                <a:gd name="T59" fmla="*/ 425 h 665"/>
                <a:gd name="T60" fmla="*/ 150 w 353"/>
                <a:gd name="T61" fmla="*/ 358 h 665"/>
                <a:gd name="T62" fmla="*/ 145 w 353"/>
                <a:gd name="T63" fmla="*/ 269 h 665"/>
                <a:gd name="T64" fmla="*/ 140 w 353"/>
                <a:gd name="T65" fmla="*/ 240 h 665"/>
                <a:gd name="T66" fmla="*/ 137 w 353"/>
                <a:gd name="T67" fmla="*/ 214 h 665"/>
                <a:gd name="T68" fmla="*/ 138 w 353"/>
                <a:gd name="T69" fmla="*/ 163 h 665"/>
                <a:gd name="T70" fmla="*/ 138 w 353"/>
                <a:gd name="T71" fmla="*/ 127 h 665"/>
                <a:gd name="T72" fmla="*/ 133 w 353"/>
                <a:gd name="T73" fmla="*/ 72 h 665"/>
                <a:gd name="T74" fmla="*/ 129 w 353"/>
                <a:gd name="T75" fmla="*/ 34 h 66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53"/>
                <a:gd name="T115" fmla="*/ 0 h 665"/>
                <a:gd name="T116" fmla="*/ 353 w 353"/>
                <a:gd name="T117" fmla="*/ 665 h 66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53" h="665">
                  <a:moveTo>
                    <a:pt x="293" y="34"/>
                  </a:moveTo>
                  <a:lnTo>
                    <a:pt x="287" y="23"/>
                  </a:lnTo>
                  <a:lnTo>
                    <a:pt x="275" y="13"/>
                  </a:lnTo>
                  <a:lnTo>
                    <a:pt x="263" y="7"/>
                  </a:lnTo>
                  <a:lnTo>
                    <a:pt x="250" y="3"/>
                  </a:lnTo>
                  <a:lnTo>
                    <a:pt x="233" y="0"/>
                  </a:lnTo>
                  <a:lnTo>
                    <a:pt x="220" y="2"/>
                  </a:lnTo>
                  <a:lnTo>
                    <a:pt x="206" y="6"/>
                  </a:lnTo>
                  <a:lnTo>
                    <a:pt x="191" y="13"/>
                  </a:lnTo>
                  <a:lnTo>
                    <a:pt x="180" y="21"/>
                  </a:lnTo>
                  <a:lnTo>
                    <a:pt x="168" y="32"/>
                  </a:lnTo>
                  <a:lnTo>
                    <a:pt x="147" y="59"/>
                  </a:lnTo>
                  <a:lnTo>
                    <a:pt x="130" y="83"/>
                  </a:lnTo>
                  <a:lnTo>
                    <a:pt x="112" y="112"/>
                  </a:lnTo>
                  <a:lnTo>
                    <a:pt x="95" y="144"/>
                  </a:lnTo>
                  <a:lnTo>
                    <a:pt x="82" y="174"/>
                  </a:lnTo>
                  <a:lnTo>
                    <a:pt x="71" y="202"/>
                  </a:lnTo>
                  <a:lnTo>
                    <a:pt x="63" y="227"/>
                  </a:lnTo>
                  <a:lnTo>
                    <a:pt x="57" y="252"/>
                  </a:lnTo>
                  <a:lnTo>
                    <a:pt x="50" y="278"/>
                  </a:lnTo>
                  <a:lnTo>
                    <a:pt x="42" y="302"/>
                  </a:lnTo>
                  <a:lnTo>
                    <a:pt x="30" y="343"/>
                  </a:lnTo>
                  <a:lnTo>
                    <a:pt x="17" y="377"/>
                  </a:lnTo>
                  <a:lnTo>
                    <a:pt x="10" y="396"/>
                  </a:lnTo>
                  <a:lnTo>
                    <a:pt x="6" y="419"/>
                  </a:lnTo>
                  <a:lnTo>
                    <a:pt x="2" y="447"/>
                  </a:lnTo>
                  <a:lnTo>
                    <a:pt x="0" y="478"/>
                  </a:lnTo>
                  <a:lnTo>
                    <a:pt x="1" y="507"/>
                  </a:lnTo>
                  <a:lnTo>
                    <a:pt x="5" y="578"/>
                  </a:lnTo>
                  <a:lnTo>
                    <a:pt x="10" y="619"/>
                  </a:lnTo>
                  <a:lnTo>
                    <a:pt x="13" y="630"/>
                  </a:lnTo>
                  <a:lnTo>
                    <a:pt x="17" y="640"/>
                  </a:lnTo>
                  <a:lnTo>
                    <a:pt x="23" y="648"/>
                  </a:lnTo>
                  <a:lnTo>
                    <a:pt x="28" y="654"/>
                  </a:lnTo>
                  <a:lnTo>
                    <a:pt x="33" y="658"/>
                  </a:lnTo>
                  <a:lnTo>
                    <a:pt x="42" y="662"/>
                  </a:lnTo>
                  <a:lnTo>
                    <a:pt x="53" y="663"/>
                  </a:lnTo>
                  <a:lnTo>
                    <a:pt x="63" y="664"/>
                  </a:lnTo>
                  <a:lnTo>
                    <a:pt x="76" y="662"/>
                  </a:lnTo>
                  <a:lnTo>
                    <a:pt x="91" y="658"/>
                  </a:lnTo>
                  <a:lnTo>
                    <a:pt x="119" y="647"/>
                  </a:lnTo>
                  <a:lnTo>
                    <a:pt x="154" y="634"/>
                  </a:lnTo>
                  <a:lnTo>
                    <a:pt x="171" y="638"/>
                  </a:lnTo>
                  <a:lnTo>
                    <a:pt x="181" y="639"/>
                  </a:lnTo>
                  <a:lnTo>
                    <a:pt x="193" y="638"/>
                  </a:lnTo>
                  <a:lnTo>
                    <a:pt x="218" y="632"/>
                  </a:lnTo>
                  <a:lnTo>
                    <a:pt x="248" y="623"/>
                  </a:lnTo>
                  <a:lnTo>
                    <a:pt x="276" y="613"/>
                  </a:lnTo>
                  <a:lnTo>
                    <a:pt x="294" y="606"/>
                  </a:lnTo>
                  <a:lnTo>
                    <a:pt x="304" y="601"/>
                  </a:lnTo>
                  <a:lnTo>
                    <a:pt x="314" y="593"/>
                  </a:lnTo>
                  <a:lnTo>
                    <a:pt x="322" y="582"/>
                  </a:lnTo>
                  <a:lnTo>
                    <a:pt x="328" y="570"/>
                  </a:lnTo>
                  <a:lnTo>
                    <a:pt x="334" y="555"/>
                  </a:lnTo>
                  <a:lnTo>
                    <a:pt x="338" y="540"/>
                  </a:lnTo>
                  <a:lnTo>
                    <a:pt x="343" y="515"/>
                  </a:lnTo>
                  <a:lnTo>
                    <a:pt x="346" y="495"/>
                  </a:lnTo>
                  <a:lnTo>
                    <a:pt x="348" y="475"/>
                  </a:lnTo>
                  <a:lnTo>
                    <a:pt x="351" y="445"/>
                  </a:lnTo>
                  <a:lnTo>
                    <a:pt x="352" y="425"/>
                  </a:lnTo>
                  <a:lnTo>
                    <a:pt x="349" y="398"/>
                  </a:lnTo>
                  <a:lnTo>
                    <a:pt x="343" y="358"/>
                  </a:lnTo>
                  <a:lnTo>
                    <a:pt x="336" y="307"/>
                  </a:lnTo>
                  <a:lnTo>
                    <a:pt x="329" y="269"/>
                  </a:lnTo>
                  <a:lnTo>
                    <a:pt x="324" y="254"/>
                  </a:lnTo>
                  <a:lnTo>
                    <a:pt x="318" y="240"/>
                  </a:lnTo>
                  <a:lnTo>
                    <a:pt x="313" y="226"/>
                  </a:lnTo>
                  <a:lnTo>
                    <a:pt x="310" y="214"/>
                  </a:lnTo>
                  <a:lnTo>
                    <a:pt x="307" y="193"/>
                  </a:lnTo>
                  <a:lnTo>
                    <a:pt x="312" y="163"/>
                  </a:lnTo>
                  <a:lnTo>
                    <a:pt x="313" y="145"/>
                  </a:lnTo>
                  <a:lnTo>
                    <a:pt x="312" y="127"/>
                  </a:lnTo>
                  <a:lnTo>
                    <a:pt x="309" y="103"/>
                  </a:lnTo>
                  <a:lnTo>
                    <a:pt x="304" y="72"/>
                  </a:lnTo>
                  <a:lnTo>
                    <a:pt x="299" y="50"/>
                  </a:lnTo>
                  <a:lnTo>
                    <a:pt x="293" y="34"/>
                  </a:lnTo>
                </a:path>
              </a:pathLst>
            </a:custGeom>
            <a:gradFill rotWithShape="0">
              <a:gsLst>
                <a:gs pos="0">
                  <a:srgbClr val="FF0100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" name="Freeform 47"/>
            <p:cNvSpPr>
              <a:spLocks/>
            </p:cNvSpPr>
            <p:nvPr/>
          </p:nvSpPr>
          <p:spPr bwMode="auto">
            <a:xfrm>
              <a:off x="3133" y="2183"/>
              <a:ext cx="313" cy="331"/>
            </a:xfrm>
            <a:custGeom>
              <a:avLst/>
              <a:gdLst>
                <a:gd name="T0" fmla="*/ 14 w 352"/>
                <a:gd name="T1" fmla="*/ 0 h 331"/>
                <a:gd name="T2" fmla="*/ 13 w 352"/>
                <a:gd name="T3" fmla="*/ 13 h 331"/>
                <a:gd name="T4" fmla="*/ 8 w 352"/>
                <a:gd name="T5" fmla="*/ 47 h 331"/>
                <a:gd name="T6" fmla="*/ 4 w 352"/>
                <a:gd name="T7" fmla="*/ 66 h 331"/>
                <a:gd name="T8" fmla="*/ 4 w 352"/>
                <a:gd name="T9" fmla="*/ 88 h 331"/>
                <a:gd name="T10" fmla="*/ 2 w 352"/>
                <a:gd name="T11" fmla="*/ 115 h 331"/>
                <a:gd name="T12" fmla="*/ 0 w 352"/>
                <a:gd name="T13" fmla="*/ 146 h 331"/>
                <a:gd name="T14" fmla="*/ 1 w 352"/>
                <a:gd name="T15" fmla="*/ 176 h 331"/>
                <a:gd name="T16" fmla="*/ 4 w 352"/>
                <a:gd name="T17" fmla="*/ 245 h 331"/>
                <a:gd name="T18" fmla="*/ 4 w 352"/>
                <a:gd name="T19" fmla="*/ 285 h 331"/>
                <a:gd name="T20" fmla="*/ 6 w 352"/>
                <a:gd name="T21" fmla="*/ 296 h 331"/>
                <a:gd name="T22" fmla="*/ 8 w 352"/>
                <a:gd name="T23" fmla="*/ 306 h 331"/>
                <a:gd name="T24" fmla="*/ 10 w 352"/>
                <a:gd name="T25" fmla="*/ 314 h 331"/>
                <a:gd name="T26" fmla="*/ 12 w 352"/>
                <a:gd name="T27" fmla="*/ 320 h 331"/>
                <a:gd name="T28" fmla="*/ 14 w 352"/>
                <a:gd name="T29" fmla="*/ 325 h 331"/>
                <a:gd name="T30" fmla="*/ 18 w 352"/>
                <a:gd name="T31" fmla="*/ 328 h 331"/>
                <a:gd name="T32" fmla="*/ 22 w 352"/>
                <a:gd name="T33" fmla="*/ 329 h 331"/>
                <a:gd name="T34" fmla="*/ 28 w 352"/>
                <a:gd name="T35" fmla="*/ 330 h 331"/>
                <a:gd name="T36" fmla="*/ 33 w 352"/>
                <a:gd name="T37" fmla="*/ 328 h 331"/>
                <a:gd name="T38" fmla="*/ 39 w 352"/>
                <a:gd name="T39" fmla="*/ 325 h 331"/>
                <a:gd name="T40" fmla="*/ 53 w 352"/>
                <a:gd name="T41" fmla="*/ 314 h 331"/>
                <a:gd name="T42" fmla="*/ 68 w 352"/>
                <a:gd name="T43" fmla="*/ 301 h 331"/>
                <a:gd name="T44" fmla="*/ 75 w 352"/>
                <a:gd name="T45" fmla="*/ 304 h 331"/>
                <a:gd name="T46" fmla="*/ 79 w 352"/>
                <a:gd name="T47" fmla="*/ 306 h 331"/>
                <a:gd name="T48" fmla="*/ 84 w 352"/>
                <a:gd name="T49" fmla="*/ 304 h 331"/>
                <a:gd name="T50" fmla="*/ 96 w 352"/>
                <a:gd name="T51" fmla="*/ 299 h 331"/>
                <a:gd name="T52" fmla="*/ 110 w 352"/>
                <a:gd name="T53" fmla="*/ 290 h 331"/>
                <a:gd name="T54" fmla="*/ 122 w 352"/>
                <a:gd name="T55" fmla="*/ 280 h 331"/>
                <a:gd name="T56" fmla="*/ 129 w 352"/>
                <a:gd name="T57" fmla="*/ 273 h 331"/>
                <a:gd name="T58" fmla="*/ 132 w 352"/>
                <a:gd name="T59" fmla="*/ 267 h 331"/>
                <a:gd name="T60" fmla="*/ 139 w 352"/>
                <a:gd name="T61" fmla="*/ 260 h 331"/>
                <a:gd name="T62" fmla="*/ 141 w 352"/>
                <a:gd name="T63" fmla="*/ 249 h 331"/>
                <a:gd name="T64" fmla="*/ 144 w 352"/>
                <a:gd name="T65" fmla="*/ 238 h 331"/>
                <a:gd name="T66" fmla="*/ 147 w 352"/>
                <a:gd name="T67" fmla="*/ 223 h 331"/>
                <a:gd name="T68" fmla="*/ 148 w 352"/>
                <a:gd name="T69" fmla="*/ 208 h 331"/>
                <a:gd name="T70" fmla="*/ 149 w 352"/>
                <a:gd name="T71" fmla="*/ 183 h 331"/>
                <a:gd name="T72" fmla="*/ 152 w 352"/>
                <a:gd name="T73" fmla="*/ 164 h 331"/>
                <a:gd name="T74" fmla="*/ 154 w 352"/>
                <a:gd name="T75" fmla="*/ 143 h 331"/>
                <a:gd name="T76" fmla="*/ 154 w 352"/>
                <a:gd name="T77" fmla="*/ 114 h 331"/>
                <a:gd name="T78" fmla="*/ 154 w 352"/>
                <a:gd name="T79" fmla="*/ 93 h 331"/>
                <a:gd name="T80" fmla="*/ 154 w 352"/>
                <a:gd name="T81" fmla="*/ 67 h 331"/>
                <a:gd name="T82" fmla="*/ 154 w 352"/>
                <a:gd name="T83" fmla="*/ 49 h 331"/>
                <a:gd name="T84" fmla="*/ 149 w 352"/>
                <a:gd name="T85" fmla="*/ 50 h 331"/>
                <a:gd name="T86" fmla="*/ 145 w 352"/>
                <a:gd name="T87" fmla="*/ 54 h 331"/>
                <a:gd name="T88" fmla="*/ 140 w 352"/>
                <a:gd name="T89" fmla="*/ 56 h 331"/>
                <a:gd name="T90" fmla="*/ 131 w 352"/>
                <a:gd name="T91" fmla="*/ 55 h 331"/>
                <a:gd name="T92" fmla="*/ 124 w 352"/>
                <a:gd name="T93" fmla="*/ 54 h 331"/>
                <a:gd name="T94" fmla="*/ 111 w 352"/>
                <a:gd name="T95" fmla="*/ 56 h 331"/>
                <a:gd name="T96" fmla="*/ 101 w 352"/>
                <a:gd name="T97" fmla="*/ 56 h 331"/>
                <a:gd name="T98" fmla="*/ 92 w 352"/>
                <a:gd name="T99" fmla="*/ 56 h 331"/>
                <a:gd name="T100" fmla="*/ 84 w 352"/>
                <a:gd name="T101" fmla="*/ 55 h 331"/>
                <a:gd name="T102" fmla="*/ 77 w 352"/>
                <a:gd name="T103" fmla="*/ 53 h 331"/>
                <a:gd name="T104" fmla="*/ 69 w 352"/>
                <a:gd name="T105" fmla="*/ 51 h 331"/>
                <a:gd name="T106" fmla="*/ 65 w 352"/>
                <a:gd name="T107" fmla="*/ 48 h 331"/>
                <a:gd name="T108" fmla="*/ 58 w 352"/>
                <a:gd name="T109" fmla="*/ 41 h 331"/>
                <a:gd name="T110" fmla="*/ 51 w 352"/>
                <a:gd name="T111" fmla="*/ 35 h 331"/>
                <a:gd name="T112" fmla="*/ 42 w 352"/>
                <a:gd name="T113" fmla="*/ 29 h 331"/>
                <a:gd name="T114" fmla="*/ 35 w 352"/>
                <a:gd name="T115" fmla="*/ 20 h 331"/>
                <a:gd name="T116" fmla="*/ 28 w 352"/>
                <a:gd name="T117" fmla="*/ 13 h 331"/>
                <a:gd name="T118" fmla="*/ 21 w 352"/>
                <a:gd name="T119" fmla="*/ 3 h 331"/>
                <a:gd name="T120" fmla="*/ 18 w 352"/>
                <a:gd name="T121" fmla="*/ 0 h 331"/>
                <a:gd name="T122" fmla="*/ 14 w 352"/>
                <a:gd name="T123" fmla="*/ 0 h 33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52"/>
                <a:gd name="T187" fmla="*/ 0 h 331"/>
                <a:gd name="T188" fmla="*/ 352 w 352"/>
                <a:gd name="T189" fmla="*/ 331 h 33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52" h="331">
                  <a:moveTo>
                    <a:pt x="33" y="0"/>
                  </a:moveTo>
                  <a:lnTo>
                    <a:pt x="30" y="13"/>
                  </a:lnTo>
                  <a:lnTo>
                    <a:pt x="17" y="47"/>
                  </a:lnTo>
                  <a:lnTo>
                    <a:pt x="10" y="66"/>
                  </a:lnTo>
                  <a:lnTo>
                    <a:pt x="5" y="88"/>
                  </a:lnTo>
                  <a:lnTo>
                    <a:pt x="2" y="115"/>
                  </a:lnTo>
                  <a:lnTo>
                    <a:pt x="0" y="146"/>
                  </a:lnTo>
                  <a:lnTo>
                    <a:pt x="1" y="176"/>
                  </a:lnTo>
                  <a:lnTo>
                    <a:pt x="5" y="245"/>
                  </a:lnTo>
                  <a:lnTo>
                    <a:pt x="10" y="285"/>
                  </a:lnTo>
                  <a:lnTo>
                    <a:pt x="13" y="296"/>
                  </a:lnTo>
                  <a:lnTo>
                    <a:pt x="17" y="306"/>
                  </a:lnTo>
                  <a:lnTo>
                    <a:pt x="22" y="314"/>
                  </a:lnTo>
                  <a:lnTo>
                    <a:pt x="27" y="320"/>
                  </a:lnTo>
                  <a:lnTo>
                    <a:pt x="33" y="325"/>
                  </a:lnTo>
                  <a:lnTo>
                    <a:pt x="42" y="328"/>
                  </a:lnTo>
                  <a:lnTo>
                    <a:pt x="52" y="329"/>
                  </a:lnTo>
                  <a:lnTo>
                    <a:pt x="63" y="330"/>
                  </a:lnTo>
                  <a:lnTo>
                    <a:pt x="76" y="328"/>
                  </a:lnTo>
                  <a:lnTo>
                    <a:pt x="90" y="325"/>
                  </a:lnTo>
                  <a:lnTo>
                    <a:pt x="119" y="314"/>
                  </a:lnTo>
                  <a:lnTo>
                    <a:pt x="153" y="301"/>
                  </a:lnTo>
                  <a:lnTo>
                    <a:pt x="170" y="304"/>
                  </a:lnTo>
                  <a:lnTo>
                    <a:pt x="180" y="306"/>
                  </a:lnTo>
                  <a:lnTo>
                    <a:pt x="192" y="304"/>
                  </a:lnTo>
                  <a:lnTo>
                    <a:pt x="217" y="299"/>
                  </a:lnTo>
                  <a:lnTo>
                    <a:pt x="248" y="290"/>
                  </a:lnTo>
                  <a:lnTo>
                    <a:pt x="275" y="280"/>
                  </a:lnTo>
                  <a:lnTo>
                    <a:pt x="294" y="273"/>
                  </a:lnTo>
                  <a:lnTo>
                    <a:pt x="304" y="267"/>
                  </a:lnTo>
                  <a:lnTo>
                    <a:pt x="314" y="260"/>
                  </a:lnTo>
                  <a:lnTo>
                    <a:pt x="322" y="249"/>
                  </a:lnTo>
                  <a:lnTo>
                    <a:pt x="328" y="238"/>
                  </a:lnTo>
                  <a:lnTo>
                    <a:pt x="333" y="223"/>
                  </a:lnTo>
                  <a:lnTo>
                    <a:pt x="337" y="208"/>
                  </a:lnTo>
                  <a:lnTo>
                    <a:pt x="342" y="183"/>
                  </a:lnTo>
                  <a:lnTo>
                    <a:pt x="345" y="164"/>
                  </a:lnTo>
                  <a:lnTo>
                    <a:pt x="347" y="143"/>
                  </a:lnTo>
                  <a:lnTo>
                    <a:pt x="350" y="114"/>
                  </a:lnTo>
                  <a:lnTo>
                    <a:pt x="351" y="93"/>
                  </a:lnTo>
                  <a:lnTo>
                    <a:pt x="349" y="67"/>
                  </a:lnTo>
                  <a:lnTo>
                    <a:pt x="347" y="49"/>
                  </a:lnTo>
                  <a:lnTo>
                    <a:pt x="339" y="50"/>
                  </a:lnTo>
                  <a:lnTo>
                    <a:pt x="329" y="54"/>
                  </a:lnTo>
                  <a:lnTo>
                    <a:pt x="318" y="56"/>
                  </a:lnTo>
                  <a:lnTo>
                    <a:pt x="296" y="55"/>
                  </a:lnTo>
                  <a:lnTo>
                    <a:pt x="279" y="54"/>
                  </a:lnTo>
                  <a:lnTo>
                    <a:pt x="254" y="56"/>
                  </a:lnTo>
                  <a:lnTo>
                    <a:pt x="231" y="56"/>
                  </a:lnTo>
                  <a:lnTo>
                    <a:pt x="210" y="56"/>
                  </a:lnTo>
                  <a:lnTo>
                    <a:pt x="192" y="55"/>
                  </a:lnTo>
                  <a:lnTo>
                    <a:pt x="177" y="53"/>
                  </a:lnTo>
                  <a:lnTo>
                    <a:pt x="159" y="51"/>
                  </a:lnTo>
                  <a:lnTo>
                    <a:pt x="147" y="48"/>
                  </a:lnTo>
                  <a:lnTo>
                    <a:pt x="130" y="41"/>
                  </a:lnTo>
                  <a:lnTo>
                    <a:pt x="115" y="35"/>
                  </a:lnTo>
                  <a:lnTo>
                    <a:pt x="97" y="29"/>
                  </a:lnTo>
                  <a:lnTo>
                    <a:pt x="79" y="20"/>
                  </a:lnTo>
                  <a:lnTo>
                    <a:pt x="62" y="13"/>
                  </a:lnTo>
                  <a:lnTo>
                    <a:pt x="48" y="3"/>
                  </a:lnTo>
                  <a:lnTo>
                    <a:pt x="40" y="0"/>
                  </a:lnTo>
                  <a:lnTo>
                    <a:pt x="33" y="0"/>
                  </a:lnTo>
                </a:path>
              </a:pathLst>
            </a:custGeom>
            <a:gradFill rotWithShape="0">
              <a:gsLst>
                <a:gs pos="0">
                  <a:srgbClr val="FF0100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" name="Freeform 48"/>
            <p:cNvSpPr>
              <a:spLocks/>
            </p:cNvSpPr>
            <p:nvPr/>
          </p:nvSpPr>
          <p:spPr bwMode="auto">
            <a:xfrm>
              <a:off x="3133" y="2183"/>
              <a:ext cx="142" cy="331"/>
            </a:xfrm>
            <a:custGeom>
              <a:avLst/>
              <a:gdLst>
                <a:gd name="T0" fmla="*/ 14 w 160"/>
                <a:gd name="T1" fmla="*/ 0 h 331"/>
                <a:gd name="T2" fmla="*/ 12 w 160"/>
                <a:gd name="T3" fmla="*/ 13 h 331"/>
                <a:gd name="T4" fmla="*/ 8 w 160"/>
                <a:gd name="T5" fmla="*/ 47 h 331"/>
                <a:gd name="T6" fmla="*/ 4 w 160"/>
                <a:gd name="T7" fmla="*/ 66 h 331"/>
                <a:gd name="T8" fmla="*/ 4 w 160"/>
                <a:gd name="T9" fmla="*/ 88 h 331"/>
                <a:gd name="T10" fmla="*/ 2 w 160"/>
                <a:gd name="T11" fmla="*/ 115 h 331"/>
                <a:gd name="T12" fmla="*/ 0 w 160"/>
                <a:gd name="T13" fmla="*/ 146 h 331"/>
                <a:gd name="T14" fmla="*/ 1 w 160"/>
                <a:gd name="T15" fmla="*/ 176 h 331"/>
                <a:gd name="T16" fmla="*/ 4 w 160"/>
                <a:gd name="T17" fmla="*/ 245 h 331"/>
                <a:gd name="T18" fmla="*/ 4 w 160"/>
                <a:gd name="T19" fmla="*/ 285 h 331"/>
                <a:gd name="T20" fmla="*/ 6 w 160"/>
                <a:gd name="T21" fmla="*/ 296 h 331"/>
                <a:gd name="T22" fmla="*/ 8 w 160"/>
                <a:gd name="T23" fmla="*/ 306 h 331"/>
                <a:gd name="T24" fmla="*/ 10 w 160"/>
                <a:gd name="T25" fmla="*/ 314 h 331"/>
                <a:gd name="T26" fmla="*/ 12 w 160"/>
                <a:gd name="T27" fmla="*/ 320 h 331"/>
                <a:gd name="T28" fmla="*/ 14 w 160"/>
                <a:gd name="T29" fmla="*/ 325 h 331"/>
                <a:gd name="T30" fmla="*/ 18 w 160"/>
                <a:gd name="T31" fmla="*/ 328 h 331"/>
                <a:gd name="T32" fmla="*/ 22 w 160"/>
                <a:gd name="T33" fmla="*/ 329 h 331"/>
                <a:gd name="T34" fmla="*/ 27 w 160"/>
                <a:gd name="T35" fmla="*/ 330 h 331"/>
                <a:gd name="T36" fmla="*/ 32 w 160"/>
                <a:gd name="T37" fmla="*/ 328 h 331"/>
                <a:gd name="T38" fmla="*/ 38 w 160"/>
                <a:gd name="T39" fmla="*/ 325 h 331"/>
                <a:gd name="T40" fmla="*/ 51 w 160"/>
                <a:gd name="T41" fmla="*/ 314 h 331"/>
                <a:gd name="T42" fmla="*/ 66 w 160"/>
                <a:gd name="T43" fmla="*/ 301 h 331"/>
                <a:gd name="T44" fmla="*/ 67 w 160"/>
                <a:gd name="T45" fmla="*/ 298 h 331"/>
                <a:gd name="T46" fmla="*/ 67 w 160"/>
                <a:gd name="T47" fmla="*/ 292 h 331"/>
                <a:gd name="T48" fmla="*/ 68 w 160"/>
                <a:gd name="T49" fmla="*/ 287 h 331"/>
                <a:gd name="T50" fmla="*/ 69 w 160"/>
                <a:gd name="T51" fmla="*/ 279 h 331"/>
                <a:gd name="T52" fmla="*/ 67 w 160"/>
                <a:gd name="T53" fmla="*/ 270 h 331"/>
                <a:gd name="T54" fmla="*/ 64 w 160"/>
                <a:gd name="T55" fmla="*/ 248 h 331"/>
                <a:gd name="T56" fmla="*/ 57 w 160"/>
                <a:gd name="T57" fmla="*/ 216 h 331"/>
                <a:gd name="T58" fmla="*/ 52 w 160"/>
                <a:gd name="T59" fmla="*/ 198 h 331"/>
                <a:gd name="T60" fmla="*/ 48 w 160"/>
                <a:gd name="T61" fmla="*/ 176 h 331"/>
                <a:gd name="T62" fmla="*/ 45 w 160"/>
                <a:gd name="T63" fmla="*/ 157 h 331"/>
                <a:gd name="T64" fmla="*/ 41 w 160"/>
                <a:gd name="T65" fmla="*/ 136 h 331"/>
                <a:gd name="T66" fmla="*/ 36 w 160"/>
                <a:gd name="T67" fmla="*/ 116 h 331"/>
                <a:gd name="T68" fmla="*/ 32 w 160"/>
                <a:gd name="T69" fmla="*/ 97 h 331"/>
                <a:gd name="T70" fmla="*/ 28 w 160"/>
                <a:gd name="T71" fmla="*/ 72 h 331"/>
                <a:gd name="T72" fmla="*/ 24 w 160"/>
                <a:gd name="T73" fmla="*/ 49 h 331"/>
                <a:gd name="T74" fmla="*/ 20 w 160"/>
                <a:gd name="T75" fmla="*/ 27 h 331"/>
                <a:gd name="T76" fmla="*/ 18 w 160"/>
                <a:gd name="T77" fmla="*/ 13 h 331"/>
                <a:gd name="T78" fmla="*/ 16 w 160"/>
                <a:gd name="T79" fmla="*/ 5 h 331"/>
                <a:gd name="T80" fmla="*/ 14 w 160"/>
                <a:gd name="T81" fmla="*/ 0 h 33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60"/>
                <a:gd name="T124" fmla="*/ 0 h 331"/>
                <a:gd name="T125" fmla="*/ 160 w 160"/>
                <a:gd name="T126" fmla="*/ 331 h 33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60" h="331">
                  <a:moveTo>
                    <a:pt x="33" y="0"/>
                  </a:moveTo>
                  <a:lnTo>
                    <a:pt x="29" y="13"/>
                  </a:lnTo>
                  <a:lnTo>
                    <a:pt x="17" y="47"/>
                  </a:lnTo>
                  <a:lnTo>
                    <a:pt x="10" y="66"/>
                  </a:lnTo>
                  <a:lnTo>
                    <a:pt x="5" y="88"/>
                  </a:lnTo>
                  <a:lnTo>
                    <a:pt x="2" y="115"/>
                  </a:lnTo>
                  <a:lnTo>
                    <a:pt x="0" y="146"/>
                  </a:lnTo>
                  <a:lnTo>
                    <a:pt x="1" y="176"/>
                  </a:lnTo>
                  <a:lnTo>
                    <a:pt x="5" y="245"/>
                  </a:lnTo>
                  <a:lnTo>
                    <a:pt x="10" y="285"/>
                  </a:lnTo>
                  <a:lnTo>
                    <a:pt x="13" y="296"/>
                  </a:lnTo>
                  <a:lnTo>
                    <a:pt x="17" y="306"/>
                  </a:lnTo>
                  <a:lnTo>
                    <a:pt x="21" y="314"/>
                  </a:lnTo>
                  <a:lnTo>
                    <a:pt x="27" y="320"/>
                  </a:lnTo>
                  <a:lnTo>
                    <a:pt x="33" y="325"/>
                  </a:lnTo>
                  <a:lnTo>
                    <a:pt x="41" y="328"/>
                  </a:lnTo>
                  <a:lnTo>
                    <a:pt x="51" y="329"/>
                  </a:lnTo>
                  <a:lnTo>
                    <a:pt x="61" y="330"/>
                  </a:lnTo>
                  <a:lnTo>
                    <a:pt x="74" y="328"/>
                  </a:lnTo>
                  <a:lnTo>
                    <a:pt x="88" y="325"/>
                  </a:lnTo>
                  <a:lnTo>
                    <a:pt x="117" y="314"/>
                  </a:lnTo>
                  <a:lnTo>
                    <a:pt x="150" y="301"/>
                  </a:lnTo>
                  <a:lnTo>
                    <a:pt x="154" y="298"/>
                  </a:lnTo>
                  <a:lnTo>
                    <a:pt x="157" y="292"/>
                  </a:lnTo>
                  <a:lnTo>
                    <a:pt x="158" y="287"/>
                  </a:lnTo>
                  <a:lnTo>
                    <a:pt x="159" y="279"/>
                  </a:lnTo>
                  <a:lnTo>
                    <a:pt x="156" y="270"/>
                  </a:lnTo>
                  <a:lnTo>
                    <a:pt x="146" y="248"/>
                  </a:lnTo>
                  <a:lnTo>
                    <a:pt x="130" y="216"/>
                  </a:lnTo>
                  <a:lnTo>
                    <a:pt x="123" y="198"/>
                  </a:lnTo>
                  <a:lnTo>
                    <a:pt x="112" y="176"/>
                  </a:lnTo>
                  <a:lnTo>
                    <a:pt x="104" y="157"/>
                  </a:lnTo>
                  <a:lnTo>
                    <a:pt x="94" y="136"/>
                  </a:lnTo>
                  <a:lnTo>
                    <a:pt x="85" y="116"/>
                  </a:lnTo>
                  <a:lnTo>
                    <a:pt x="76" y="97"/>
                  </a:lnTo>
                  <a:lnTo>
                    <a:pt x="64" y="72"/>
                  </a:lnTo>
                  <a:lnTo>
                    <a:pt x="54" y="49"/>
                  </a:lnTo>
                  <a:lnTo>
                    <a:pt x="45" y="27"/>
                  </a:lnTo>
                  <a:lnTo>
                    <a:pt x="39" y="13"/>
                  </a:lnTo>
                  <a:lnTo>
                    <a:pt x="35" y="5"/>
                  </a:lnTo>
                  <a:lnTo>
                    <a:pt x="33" y="0"/>
                  </a:lnTo>
                </a:path>
              </a:pathLst>
            </a:custGeom>
            <a:gradFill rotWithShape="0">
              <a:gsLst>
                <a:gs pos="0">
                  <a:srgbClr val="FF0100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" name="Freeform 49"/>
            <p:cNvSpPr>
              <a:spLocks/>
            </p:cNvSpPr>
            <p:nvPr/>
          </p:nvSpPr>
          <p:spPr bwMode="auto">
            <a:xfrm>
              <a:off x="3353" y="2001"/>
              <a:ext cx="59" cy="67"/>
            </a:xfrm>
            <a:custGeom>
              <a:avLst/>
              <a:gdLst>
                <a:gd name="T0" fmla="*/ 30 w 66"/>
                <a:gd name="T1" fmla="*/ 66 h 67"/>
                <a:gd name="T2" fmla="*/ 27 w 66"/>
                <a:gd name="T3" fmla="*/ 63 h 67"/>
                <a:gd name="T4" fmla="*/ 23 w 66"/>
                <a:gd name="T5" fmla="*/ 56 h 67"/>
                <a:gd name="T6" fmla="*/ 19 w 66"/>
                <a:gd name="T7" fmla="*/ 48 h 67"/>
                <a:gd name="T8" fmla="*/ 16 w 66"/>
                <a:gd name="T9" fmla="*/ 42 h 67"/>
                <a:gd name="T10" fmla="*/ 14 w 66"/>
                <a:gd name="T11" fmla="*/ 35 h 67"/>
                <a:gd name="T12" fmla="*/ 12 w 66"/>
                <a:gd name="T13" fmla="*/ 27 h 67"/>
                <a:gd name="T14" fmla="*/ 11 w 66"/>
                <a:gd name="T15" fmla="*/ 19 h 67"/>
                <a:gd name="T16" fmla="*/ 9 w 66"/>
                <a:gd name="T17" fmla="*/ 13 h 67"/>
                <a:gd name="T18" fmla="*/ 7 w 66"/>
                <a:gd name="T19" fmla="*/ 9 h 67"/>
                <a:gd name="T20" fmla="*/ 4 w 66"/>
                <a:gd name="T21" fmla="*/ 4 h 67"/>
                <a:gd name="T22" fmla="*/ 0 w 66"/>
                <a:gd name="T23" fmla="*/ 0 h 6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6"/>
                <a:gd name="T37" fmla="*/ 0 h 67"/>
                <a:gd name="T38" fmla="*/ 66 w 66"/>
                <a:gd name="T39" fmla="*/ 67 h 6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6" h="67">
                  <a:moveTo>
                    <a:pt x="65" y="66"/>
                  </a:moveTo>
                  <a:lnTo>
                    <a:pt x="58" y="63"/>
                  </a:lnTo>
                  <a:lnTo>
                    <a:pt x="50" y="56"/>
                  </a:lnTo>
                  <a:lnTo>
                    <a:pt x="40" y="48"/>
                  </a:lnTo>
                  <a:lnTo>
                    <a:pt x="35" y="42"/>
                  </a:lnTo>
                  <a:lnTo>
                    <a:pt x="31" y="35"/>
                  </a:lnTo>
                  <a:lnTo>
                    <a:pt x="27" y="27"/>
                  </a:lnTo>
                  <a:lnTo>
                    <a:pt x="23" y="19"/>
                  </a:lnTo>
                  <a:lnTo>
                    <a:pt x="19" y="13"/>
                  </a:lnTo>
                  <a:lnTo>
                    <a:pt x="15" y="9"/>
                  </a:lnTo>
                  <a:lnTo>
                    <a:pt x="9" y="4"/>
                  </a:lnTo>
                  <a:lnTo>
                    <a:pt x="0" y="0"/>
                  </a:lnTo>
                </a:path>
              </a:pathLst>
            </a:custGeom>
            <a:gradFill rotWithShape="0">
              <a:gsLst>
                <a:gs pos="0">
                  <a:srgbClr val="FF0100"/>
                </a:gs>
                <a:gs pos="100000">
                  <a:srgbClr val="000000"/>
                </a:gs>
              </a:gsLst>
              <a:lin ang="5400000" scaled="1"/>
            </a:gra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50"/>
            <p:cNvSpPr>
              <a:spLocks/>
            </p:cNvSpPr>
            <p:nvPr/>
          </p:nvSpPr>
          <p:spPr bwMode="auto">
            <a:xfrm>
              <a:off x="3492" y="1853"/>
              <a:ext cx="313" cy="665"/>
            </a:xfrm>
            <a:custGeom>
              <a:avLst/>
              <a:gdLst>
                <a:gd name="T0" fmla="*/ 28 w 352"/>
                <a:gd name="T1" fmla="*/ 23 h 665"/>
                <a:gd name="T2" fmla="*/ 39 w 352"/>
                <a:gd name="T3" fmla="*/ 6 h 665"/>
                <a:gd name="T4" fmla="*/ 52 w 352"/>
                <a:gd name="T5" fmla="*/ 0 h 665"/>
                <a:gd name="T6" fmla="*/ 65 w 352"/>
                <a:gd name="T7" fmla="*/ 6 h 665"/>
                <a:gd name="T8" fmla="*/ 75 w 352"/>
                <a:gd name="T9" fmla="*/ 20 h 665"/>
                <a:gd name="T10" fmla="*/ 89 w 352"/>
                <a:gd name="T11" fmla="*/ 59 h 665"/>
                <a:gd name="T12" fmla="*/ 104 w 352"/>
                <a:gd name="T13" fmla="*/ 112 h 665"/>
                <a:gd name="T14" fmla="*/ 117 w 352"/>
                <a:gd name="T15" fmla="*/ 174 h 665"/>
                <a:gd name="T16" fmla="*/ 127 w 352"/>
                <a:gd name="T17" fmla="*/ 227 h 665"/>
                <a:gd name="T18" fmla="*/ 132 w 352"/>
                <a:gd name="T19" fmla="*/ 278 h 665"/>
                <a:gd name="T20" fmla="*/ 140 w 352"/>
                <a:gd name="T21" fmla="*/ 342 h 665"/>
                <a:gd name="T22" fmla="*/ 149 w 352"/>
                <a:gd name="T23" fmla="*/ 396 h 665"/>
                <a:gd name="T24" fmla="*/ 154 w 352"/>
                <a:gd name="T25" fmla="*/ 447 h 665"/>
                <a:gd name="T26" fmla="*/ 154 w 352"/>
                <a:gd name="T27" fmla="*/ 507 h 665"/>
                <a:gd name="T28" fmla="*/ 149 w 352"/>
                <a:gd name="T29" fmla="*/ 619 h 665"/>
                <a:gd name="T30" fmla="*/ 147 w 352"/>
                <a:gd name="T31" fmla="*/ 639 h 665"/>
                <a:gd name="T32" fmla="*/ 142 w 352"/>
                <a:gd name="T33" fmla="*/ 653 h 665"/>
                <a:gd name="T34" fmla="*/ 137 w 352"/>
                <a:gd name="T35" fmla="*/ 661 h 665"/>
                <a:gd name="T36" fmla="*/ 127 w 352"/>
                <a:gd name="T37" fmla="*/ 664 h 665"/>
                <a:gd name="T38" fmla="*/ 115 w 352"/>
                <a:gd name="T39" fmla="*/ 658 h 665"/>
                <a:gd name="T40" fmla="*/ 87 w 352"/>
                <a:gd name="T41" fmla="*/ 634 h 665"/>
                <a:gd name="T42" fmla="*/ 75 w 352"/>
                <a:gd name="T43" fmla="*/ 639 h 665"/>
                <a:gd name="T44" fmla="*/ 60 w 352"/>
                <a:gd name="T45" fmla="*/ 632 h 665"/>
                <a:gd name="T46" fmla="*/ 33 w 352"/>
                <a:gd name="T47" fmla="*/ 613 h 665"/>
                <a:gd name="T48" fmla="*/ 21 w 352"/>
                <a:gd name="T49" fmla="*/ 601 h 665"/>
                <a:gd name="T50" fmla="*/ 13 w 352"/>
                <a:gd name="T51" fmla="*/ 582 h 665"/>
                <a:gd name="T52" fmla="*/ 8 w 352"/>
                <a:gd name="T53" fmla="*/ 555 h 665"/>
                <a:gd name="T54" fmla="*/ 4 w 352"/>
                <a:gd name="T55" fmla="*/ 514 h 665"/>
                <a:gd name="T56" fmla="*/ 4 w 352"/>
                <a:gd name="T57" fmla="*/ 475 h 665"/>
                <a:gd name="T58" fmla="*/ 0 w 352"/>
                <a:gd name="T59" fmla="*/ 425 h 665"/>
                <a:gd name="T60" fmla="*/ 4 w 352"/>
                <a:gd name="T61" fmla="*/ 358 h 665"/>
                <a:gd name="T62" fmla="*/ 10 w 352"/>
                <a:gd name="T63" fmla="*/ 269 h 665"/>
                <a:gd name="T64" fmla="*/ 15 w 352"/>
                <a:gd name="T65" fmla="*/ 240 h 665"/>
                <a:gd name="T66" fmla="*/ 18 w 352"/>
                <a:gd name="T67" fmla="*/ 214 h 665"/>
                <a:gd name="T68" fmla="*/ 18 w 352"/>
                <a:gd name="T69" fmla="*/ 163 h 665"/>
                <a:gd name="T70" fmla="*/ 18 w 352"/>
                <a:gd name="T71" fmla="*/ 126 h 665"/>
                <a:gd name="T72" fmla="*/ 21 w 352"/>
                <a:gd name="T73" fmla="*/ 72 h 665"/>
                <a:gd name="T74" fmla="*/ 25 w 352"/>
                <a:gd name="T75" fmla="*/ 34 h 66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52"/>
                <a:gd name="T115" fmla="*/ 0 h 665"/>
                <a:gd name="T116" fmla="*/ 352 w 352"/>
                <a:gd name="T117" fmla="*/ 665 h 66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52" h="665">
                  <a:moveTo>
                    <a:pt x="59" y="34"/>
                  </a:moveTo>
                  <a:lnTo>
                    <a:pt x="65" y="23"/>
                  </a:lnTo>
                  <a:lnTo>
                    <a:pt x="77" y="13"/>
                  </a:lnTo>
                  <a:lnTo>
                    <a:pt x="89" y="6"/>
                  </a:lnTo>
                  <a:lnTo>
                    <a:pt x="101" y="2"/>
                  </a:lnTo>
                  <a:lnTo>
                    <a:pt x="118" y="0"/>
                  </a:lnTo>
                  <a:lnTo>
                    <a:pt x="131" y="2"/>
                  </a:lnTo>
                  <a:lnTo>
                    <a:pt x="146" y="6"/>
                  </a:lnTo>
                  <a:lnTo>
                    <a:pt x="160" y="12"/>
                  </a:lnTo>
                  <a:lnTo>
                    <a:pt x="171" y="20"/>
                  </a:lnTo>
                  <a:lnTo>
                    <a:pt x="183" y="32"/>
                  </a:lnTo>
                  <a:lnTo>
                    <a:pt x="204" y="59"/>
                  </a:lnTo>
                  <a:lnTo>
                    <a:pt x="222" y="83"/>
                  </a:lnTo>
                  <a:lnTo>
                    <a:pt x="239" y="112"/>
                  </a:lnTo>
                  <a:lnTo>
                    <a:pt x="256" y="144"/>
                  </a:lnTo>
                  <a:lnTo>
                    <a:pt x="269" y="174"/>
                  </a:lnTo>
                  <a:lnTo>
                    <a:pt x="280" y="202"/>
                  </a:lnTo>
                  <a:lnTo>
                    <a:pt x="288" y="227"/>
                  </a:lnTo>
                  <a:lnTo>
                    <a:pt x="294" y="252"/>
                  </a:lnTo>
                  <a:lnTo>
                    <a:pt x="301" y="278"/>
                  </a:lnTo>
                  <a:lnTo>
                    <a:pt x="309" y="302"/>
                  </a:lnTo>
                  <a:lnTo>
                    <a:pt x="321" y="342"/>
                  </a:lnTo>
                  <a:lnTo>
                    <a:pt x="334" y="377"/>
                  </a:lnTo>
                  <a:lnTo>
                    <a:pt x="340" y="396"/>
                  </a:lnTo>
                  <a:lnTo>
                    <a:pt x="345" y="419"/>
                  </a:lnTo>
                  <a:lnTo>
                    <a:pt x="348" y="447"/>
                  </a:lnTo>
                  <a:lnTo>
                    <a:pt x="351" y="478"/>
                  </a:lnTo>
                  <a:lnTo>
                    <a:pt x="350" y="507"/>
                  </a:lnTo>
                  <a:lnTo>
                    <a:pt x="346" y="578"/>
                  </a:lnTo>
                  <a:lnTo>
                    <a:pt x="340" y="619"/>
                  </a:lnTo>
                  <a:lnTo>
                    <a:pt x="338" y="630"/>
                  </a:lnTo>
                  <a:lnTo>
                    <a:pt x="334" y="639"/>
                  </a:lnTo>
                  <a:lnTo>
                    <a:pt x="329" y="647"/>
                  </a:lnTo>
                  <a:lnTo>
                    <a:pt x="323" y="653"/>
                  </a:lnTo>
                  <a:lnTo>
                    <a:pt x="317" y="658"/>
                  </a:lnTo>
                  <a:lnTo>
                    <a:pt x="309" y="661"/>
                  </a:lnTo>
                  <a:lnTo>
                    <a:pt x="299" y="663"/>
                  </a:lnTo>
                  <a:lnTo>
                    <a:pt x="288" y="664"/>
                  </a:lnTo>
                  <a:lnTo>
                    <a:pt x="275" y="662"/>
                  </a:lnTo>
                  <a:lnTo>
                    <a:pt x="261" y="658"/>
                  </a:lnTo>
                  <a:lnTo>
                    <a:pt x="232" y="647"/>
                  </a:lnTo>
                  <a:lnTo>
                    <a:pt x="197" y="634"/>
                  </a:lnTo>
                  <a:lnTo>
                    <a:pt x="181" y="638"/>
                  </a:lnTo>
                  <a:lnTo>
                    <a:pt x="171" y="639"/>
                  </a:lnTo>
                  <a:lnTo>
                    <a:pt x="158" y="638"/>
                  </a:lnTo>
                  <a:lnTo>
                    <a:pt x="134" y="632"/>
                  </a:lnTo>
                  <a:lnTo>
                    <a:pt x="103" y="623"/>
                  </a:lnTo>
                  <a:lnTo>
                    <a:pt x="76" y="613"/>
                  </a:lnTo>
                  <a:lnTo>
                    <a:pt x="58" y="605"/>
                  </a:lnTo>
                  <a:lnTo>
                    <a:pt x="48" y="601"/>
                  </a:lnTo>
                  <a:lnTo>
                    <a:pt x="37" y="593"/>
                  </a:lnTo>
                  <a:lnTo>
                    <a:pt x="30" y="582"/>
                  </a:lnTo>
                  <a:lnTo>
                    <a:pt x="24" y="570"/>
                  </a:lnTo>
                  <a:lnTo>
                    <a:pt x="18" y="555"/>
                  </a:lnTo>
                  <a:lnTo>
                    <a:pt x="14" y="540"/>
                  </a:lnTo>
                  <a:lnTo>
                    <a:pt x="9" y="514"/>
                  </a:lnTo>
                  <a:lnTo>
                    <a:pt x="6" y="495"/>
                  </a:lnTo>
                  <a:lnTo>
                    <a:pt x="4" y="475"/>
                  </a:lnTo>
                  <a:lnTo>
                    <a:pt x="1" y="445"/>
                  </a:lnTo>
                  <a:lnTo>
                    <a:pt x="0" y="425"/>
                  </a:lnTo>
                  <a:lnTo>
                    <a:pt x="3" y="398"/>
                  </a:lnTo>
                  <a:lnTo>
                    <a:pt x="9" y="358"/>
                  </a:lnTo>
                  <a:lnTo>
                    <a:pt x="16" y="307"/>
                  </a:lnTo>
                  <a:lnTo>
                    <a:pt x="22" y="269"/>
                  </a:lnTo>
                  <a:lnTo>
                    <a:pt x="28" y="254"/>
                  </a:lnTo>
                  <a:lnTo>
                    <a:pt x="34" y="240"/>
                  </a:lnTo>
                  <a:lnTo>
                    <a:pt x="39" y="225"/>
                  </a:lnTo>
                  <a:lnTo>
                    <a:pt x="42" y="214"/>
                  </a:lnTo>
                  <a:lnTo>
                    <a:pt x="45" y="193"/>
                  </a:lnTo>
                  <a:lnTo>
                    <a:pt x="39" y="163"/>
                  </a:lnTo>
                  <a:lnTo>
                    <a:pt x="39" y="145"/>
                  </a:lnTo>
                  <a:lnTo>
                    <a:pt x="40" y="126"/>
                  </a:lnTo>
                  <a:lnTo>
                    <a:pt x="43" y="103"/>
                  </a:lnTo>
                  <a:lnTo>
                    <a:pt x="48" y="72"/>
                  </a:lnTo>
                  <a:lnTo>
                    <a:pt x="52" y="49"/>
                  </a:lnTo>
                  <a:lnTo>
                    <a:pt x="59" y="34"/>
                  </a:lnTo>
                </a:path>
              </a:pathLst>
            </a:custGeom>
            <a:gradFill rotWithShape="0">
              <a:gsLst>
                <a:gs pos="0">
                  <a:srgbClr val="FF0100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51"/>
            <p:cNvSpPr>
              <a:spLocks/>
            </p:cNvSpPr>
            <p:nvPr/>
          </p:nvSpPr>
          <p:spPr bwMode="auto">
            <a:xfrm>
              <a:off x="3492" y="2187"/>
              <a:ext cx="313" cy="332"/>
            </a:xfrm>
            <a:custGeom>
              <a:avLst/>
              <a:gdLst>
                <a:gd name="T0" fmla="*/ 140 w 352"/>
                <a:gd name="T1" fmla="*/ 0 h 332"/>
                <a:gd name="T2" fmla="*/ 140 w 352"/>
                <a:gd name="T3" fmla="*/ 13 h 332"/>
                <a:gd name="T4" fmla="*/ 147 w 352"/>
                <a:gd name="T5" fmla="*/ 47 h 332"/>
                <a:gd name="T6" fmla="*/ 149 w 352"/>
                <a:gd name="T7" fmla="*/ 66 h 332"/>
                <a:gd name="T8" fmla="*/ 153 w 352"/>
                <a:gd name="T9" fmla="*/ 89 h 332"/>
                <a:gd name="T10" fmla="*/ 154 w 352"/>
                <a:gd name="T11" fmla="*/ 116 h 332"/>
                <a:gd name="T12" fmla="*/ 154 w 352"/>
                <a:gd name="T13" fmla="*/ 147 h 332"/>
                <a:gd name="T14" fmla="*/ 154 w 352"/>
                <a:gd name="T15" fmla="*/ 176 h 332"/>
                <a:gd name="T16" fmla="*/ 153 w 352"/>
                <a:gd name="T17" fmla="*/ 246 h 332"/>
                <a:gd name="T18" fmla="*/ 149 w 352"/>
                <a:gd name="T19" fmla="*/ 286 h 332"/>
                <a:gd name="T20" fmla="*/ 149 w 352"/>
                <a:gd name="T21" fmla="*/ 297 h 332"/>
                <a:gd name="T22" fmla="*/ 147 w 352"/>
                <a:gd name="T23" fmla="*/ 307 h 332"/>
                <a:gd name="T24" fmla="*/ 145 w 352"/>
                <a:gd name="T25" fmla="*/ 315 h 332"/>
                <a:gd name="T26" fmla="*/ 143 w 352"/>
                <a:gd name="T27" fmla="*/ 321 h 332"/>
                <a:gd name="T28" fmla="*/ 140 w 352"/>
                <a:gd name="T29" fmla="*/ 326 h 332"/>
                <a:gd name="T30" fmla="*/ 137 w 352"/>
                <a:gd name="T31" fmla="*/ 329 h 332"/>
                <a:gd name="T32" fmla="*/ 132 w 352"/>
                <a:gd name="T33" fmla="*/ 330 h 332"/>
                <a:gd name="T34" fmla="*/ 127 w 352"/>
                <a:gd name="T35" fmla="*/ 331 h 332"/>
                <a:gd name="T36" fmla="*/ 122 w 352"/>
                <a:gd name="T37" fmla="*/ 329 h 332"/>
                <a:gd name="T38" fmla="*/ 115 w 352"/>
                <a:gd name="T39" fmla="*/ 326 h 332"/>
                <a:gd name="T40" fmla="*/ 102 w 352"/>
                <a:gd name="T41" fmla="*/ 315 h 332"/>
                <a:gd name="T42" fmla="*/ 87 w 352"/>
                <a:gd name="T43" fmla="*/ 301 h 332"/>
                <a:gd name="T44" fmla="*/ 80 w 352"/>
                <a:gd name="T45" fmla="*/ 305 h 332"/>
                <a:gd name="T46" fmla="*/ 75 w 352"/>
                <a:gd name="T47" fmla="*/ 307 h 332"/>
                <a:gd name="T48" fmla="*/ 68 w 352"/>
                <a:gd name="T49" fmla="*/ 305 h 332"/>
                <a:gd name="T50" fmla="*/ 60 w 352"/>
                <a:gd name="T51" fmla="*/ 300 h 332"/>
                <a:gd name="T52" fmla="*/ 46 w 352"/>
                <a:gd name="T53" fmla="*/ 290 h 332"/>
                <a:gd name="T54" fmla="*/ 33 w 352"/>
                <a:gd name="T55" fmla="*/ 281 h 332"/>
                <a:gd name="T56" fmla="*/ 25 w 352"/>
                <a:gd name="T57" fmla="*/ 274 h 332"/>
                <a:gd name="T58" fmla="*/ 21 w 352"/>
                <a:gd name="T59" fmla="*/ 268 h 332"/>
                <a:gd name="T60" fmla="*/ 17 w 352"/>
                <a:gd name="T61" fmla="*/ 261 h 332"/>
                <a:gd name="T62" fmla="*/ 13 w 352"/>
                <a:gd name="T63" fmla="*/ 250 h 332"/>
                <a:gd name="T64" fmla="*/ 11 w 352"/>
                <a:gd name="T65" fmla="*/ 238 h 332"/>
                <a:gd name="T66" fmla="*/ 9 w 352"/>
                <a:gd name="T67" fmla="*/ 224 h 332"/>
                <a:gd name="T68" fmla="*/ 6 w 352"/>
                <a:gd name="T69" fmla="*/ 208 h 332"/>
                <a:gd name="T70" fmla="*/ 4 w 352"/>
                <a:gd name="T71" fmla="*/ 184 h 332"/>
                <a:gd name="T72" fmla="*/ 4 w 352"/>
                <a:gd name="T73" fmla="*/ 164 h 332"/>
                <a:gd name="T74" fmla="*/ 4 w 352"/>
                <a:gd name="T75" fmla="*/ 144 h 332"/>
                <a:gd name="T76" fmla="*/ 1 w 352"/>
                <a:gd name="T77" fmla="*/ 115 h 332"/>
                <a:gd name="T78" fmla="*/ 0 w 352"/>
                <a:gd name="T79" fmla="*/ 94 h 332"/>
                <a:gd name="T80" fmla="*/ 3 w 352"/>
                <a:gd name="T81" fmla="*/ 67 h 332"/>
                <a:gd name="T82" fmla="*/ 4 w 352"/>
                <a:gd name="T83" fmla="*/ 50 h 332"/>
                <a:gd name="T84" fmla="*/ 5 w 352"/>
                <a:gd name="T85" fmla="*/ 51 h 332"/>
                <a:gd name="T86" fmla="*/ 10 w 352"/>
                <a:gd name="T87" fmla="*/ 55 h 332"/>
                <a:gd name="T88" fmla="*/ 15 w 352"/>
                <a:gd name="T89" fmla="*/ 56 h 332"/>
                <a:gd name="T90" fmla="*/ 25 w 352"/>
                <a:gd name="T91" fmla="*/ 56 h 332"/>
                <a:gd name="T92" fmla="*/ 32 w 352"/>
                <a:gd name="T93" fmla="*/ 55 h 332"/>
                <a:gd name="T94" fmla="*/ 42 w 352"/>
                <a:gd name="T95" fmla="*/ 56 h 332"/>
                <a:gd name="T96" fmla="*/ 53 w 352"/>
                <a:gd name="T97" fmla="*/ 57 h 332"/>
                <a:gd name="T98" fmla="*/ 61 w 352"/>
                <a:gd name="T99" fmla="*/ 56 h 332"/>
                <a:gd name="T100" fmla="*/ 69 w 352"/>
                <a:gd name="T101" fmla="*/ 55 h 332"/>
                <a:gd name="T102" fmla="*/ 77 w 352"/>
                <a:gd name="T103" fmla="*/ 54 h 332"/>
                <a:gd name="T104" fmla="*/ 84 w 352"/>
                <a:gd name="T105" fmla="*/ 51 h 332"/>
                <a:gd name="T106" fmla="*/ 90 w 352"/>
                <a:gd name="T107" fmla="*/ 48 h 332"/>
                <a:gd name="T108" fmla="*/ 98 w 352"/>
                <a:gd name="T109" fmla="*/ 41 h 332"/>
                <a:gd name="T110" fmla="*/ 104 w 352"/>
                <a:gd name="T111" fmla="*/ 36 h 332"/>
                <a:gd name="T112" fmla="*/ 111 w 352"/>
                <a:gd name="T113" fmla="*/ 29 h 332"/>
                <a:gd name="T114" fmla="*/ 119 w 352"/>
                <a:gd name="T115" fmla="*/ 21 h 332"/>
                <a:gd name="T116" fmla="*/ 127 w 352"/>
                <a:gd name="T117" fmla="*/ 13 h 332"/>
                <a:gd name="T118" fmla="*/ 132 w 352"/>
                <a:gd name="T119" fmla="*/ 4 h 332"/>
                <a:gd name="T120" fmla="*/ 137 w 352"/>
                <a:gd name="T121" fmla="*/ 1 h 332"/>
                <a:gd name="T122" fmla="*/ 140 w 352"/>
                <a:gd name="T123" fmla="*/ 0 h 33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52"/>
                <a:gd name="T187" fmla="*/ 0 h 332"/>
                <a:gd name="T188" fmla="*/ 352 w 352"/>
                <a:gd name="T189" fmla="*/ 332 h 33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52" h="332">
                  <a:moveTo>
                    <a:pt x="317" y="0"/>
                  </a:moveTo>
                  <a:lnTo>
                    <a:pt x="321" y="13"/>
                  </a:lnTo>
                  <a:lnTo>
                    <a:pt x="334" y="47"/>
                  </a:lnTo>
                  <a:lnTo>
                    <a:pt x="341" y="66"/>
                  </a:lnTo>
                  <a:lnTo>
                    <a:pt x="346" y="89"/>
                  </a:lnTo>
                  <a:lnTo>
                    <a:pt x="349" y="116"/>
                  </a:lnTo>
                  <a:lnTo>
                    <a:pt x="351" y="147"/>
                  </a:lnTo>
                  <a:lnTo>
                    <a:pt x="350" y="176"/>
                  </a:lnTo>
                  <a:lnTo>
                    <a:pt x="346" y="246"/>
                  </a:lnTo>
                  <a:lnTo>
                    <a:pt x="341" y="286"/>
                  </a:lnTo>
                  <a:lnTo>
                    <a:pt x="338" y="297"/>
                  </a:lnTo>
                  <a:lnTo>
                    <a:pt x="334" y="307"/>
                  </a:lnTo>
                  <a:lnTo>
                    <a:pt x="329" y="315"/>
                  </a:lnTo>
                  <a:lnTo>
                    <a:pt x="324" y="321"/>
                  </a:lnTo>
                  <a:lnTo>
                    <a:pt x="318" y="326"/>
                  </a:lnTo>
                  <a:lnTo>
                    <a:pt x="309" y="329"/>
                  </a:lnTo>
                  <a:lnTo>
                    <a:pt x="299" y="330"/>
                  </a:lnTo>
                  <a:lnTo>
                    <a:pt x="288" y="331"/>
                  </a:lnTo>
                  <a:lnTo>
                    <a:pt x="275" y="329"/>
                  </a:lnTo>
                  <a:lnTo>
                    <a:pt x="261" y="326"/>
                  </a:lnTo>
                  <a:lnTo>
                    <a:pt x="232" y="315"/>
                  </a:lnTo>
                  <a:lnTo>
                    <a:pt x="198" y="301"/>
                  </a:lnTo>
                  <a:lnTo>
                    <a:pt x="182" y="305"/>
                  </a:lnTo>
                  <a:lnTo>
                    <a:pt x="171" y="307"/>
                  </a:lnTo>
                  <a:lnTo>
                    <a:pt x="158" y="305"/>
                  </a:lnTo>
                  <a:lnTo>
                    <a:pt x="134" y="300"/>
                  </a:lnTo>
                  <a:lnTo>
                    <a:pt x="103" y="290"/>
                  </a:lnTo>
                  <a:lnTo>
                    <a:pt x="76" y="281"/>
                  </a:lnTo>
                  <a:lnTo>
                    <a:pt x="58" y="274"/>
                  </a:lnTo>
                  <a:lnTo>
                    <a:pt x="48" y="268"/>
                  </a:lnTo>
                  <a:lnTo>
                    <a:pt x="38" y="261"/>
                  </a:lnTo>
                  <a:lnTo>
                    <a:pt x="30" y="250"/>
                  </a:lnTo>
                  <a:lnTo>
                    <a:pt x="24" y="238"/>
                  </a:lnTo>
                  <a:lnTo>
                    <a:pt x="19" y="224"/>
                  </a:lnTo>
                  <a:lnTo>
                    <a:pt x="14" y="208"/>
                  </a:lnTo>
                  <a:lnTo>
                    <a:pt x="10" y="184"/>
                  </a:lnTo>
                  <a:lnTo>
                    <a:pt x="7" y="164"/>
                  </a:lnTo>
                  <a:lnTo>
                    <a:pt x="4" y="144"/>
                  </a:lnTo>
                  <a:lnTo>
                    <a:pt x="1" y="115"/>
                  </a:lnTo>
                  <a:lnTo>
                    <a:pt x="0" y="94"/>
                  </a:lnTo>
                  <a:lnTo>
                    <a:pt x="3" y="67"/>
                  </a:lnTo>
                  <a:lnTo>
                    <a:pt x="5" y="50"/>
                  </a:lnTo>
                  <a:lnTo>
                    <a:pt x="12" y="51"/>
                  </a:lnTo>
                  <a:lnTo>
                    <a:pt x="23" y="55"/>
                  </a:lnTo>
                  <a:lnTo>
                    <a:pt x="34" y="56"/>
                  </a:lnTo>
                  <a:lnTo>
                    <a:pt x="55" y="56"/>
                  </a:lnTo>
                  <a:lnTo>
                    <a:pt x="73" y="55"/>
                  </a:lnTo>
                  <a:lnTo>
                    <a:pt x="98" y="56"/>
                  </a:lnTo>
                  <a:lnTo>
                    <a:pt x="120" y="57"/>
                  </a:lnTo>
                  <a:lnTo>
                    <a:pt x="141" y="56"/>
                  </a:lnTo>
                  <a:lnTo>
                    <a:pt x="159" y="55"/>
                  </a:lnTo>
                  <a:lnTo>
                    <a:pt x="175" y="54"/>
                  </a:lnTo>
                  <a:lnTo>
                    <a:pt x="192" y="51"/>
                  </a:lnTo>
                  <a:lnTo>
                    <a:pt x="205" y="48"/>
                  </a:lnTo>
                  <a:lnTo>
                    <a:pt x="221" y="41"/>
                  </a:lnTo>
                  <a:lnTo>
                    <a:pt x="236" y="36"/>
                  </a:lnTo>
                  <a:lnTo>
                    <a:pt x="254" y="29"/>
                  </a:lnTo>
                  <a:lnTo>
                    <a:pt x="272" y="21"/>
                  </a:lnTo>
                  <a:lnTo>
                    <a:pt x="289" y="13"/>
                  </a:lnTo>
                  <a:lnTo>
                    <a:pt x="303" y="4"/>
                  </a:lnTo>
                  <a:lnTo>
                    <a:pt x="311" y="1"/>
                  </a:lnTo>
                  <a:lnTo>
                    <a:pt x="317" y="0"/>
                  </a:lnTo>
                </a:path>
              </a:pathLst>
            </a:custGeom>
            <a:gradFill rotWithShape="0">
              <a:gsLst>
                <a:gs pos="0">
                  <a:srgbClr val="FF0100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52"/>
            <p:cNvSpPr>
              <a:spLocks/>
            </p:cNvSpPr>
            <p:nvPr/>
          </p:nvSpPr>
          <p:spPr bwMode="auto">
            <a:xfrm>
              <a:off x="3663" y="2187"/>
              <a:ext cx="142" cy="332"/>
            </a:xfrm>
            <a:custGeom>
              <a:avLst/>
              <a:gdLst>
                <a:gd name="T0" fmla="*/ 54 w 160"/>
                <a:gd name="T1" fmla="*/ 0 h 332"/>
                <a:gd name="T2" fmla="*/ 57 w 160"/>
                <a:gd name="T3" fmla="*/ 13 h 332"/>
                <a:gd name="T4" fmla="*/ 61 w 160"/>
                <a:gd name="T5" fmla="*/ 47 h 332"/>
                <a:gd name="T6" fmla="*/ 65 w 160"/>
                <a:gd name="T7" fmla="*/ 66 h 332"/>
                <a:gd name="T8" fmla="*/ 67 w 160"/>
                <a:gd name="T9" fmla="*/ 89 h 332"/>
                <a:gd name="T10" fmla="*/ 67 w 160"/>
                <a:gd name="T11" fmla="*/ 116 h 332"/>
                <a:gd name="T12" fmla="*/ 69 w 160"/>
                <a:gd name="T13" fmla="*/ 147 h 332"/>
                <a:gd name="T14" fmla="*/ 68 w 160"/>
                <a:gd name="T15" fmla="*/ 176 h 332"/>
                <a:gd name="T16" fmla="*/ 67 w 160"/>
                <a:gd name="T17" fmla="*/ 246 h 332"/>
                <a:gd name="T18" fmla="*/ 65 w 160"/>
                <a:gd name="T19" fmla="*/ 286 h 332"/>
                <a:gd name="T20" fmla="*/ 64 w 160"/>
                <a:gd name="T21" fmla="*/ 297 h 332"/>
                <a:gd name="T22" fmla="*/ 61 w 160"/>
                <a:gd name="T23" fmla="*/ 307 h 332"/>
                <a:gd name="T24" fmla="*/ 59 w 160"/>
                <a:gd name="T25" fmla="*/ 315 h 332"/>
                <a:gd name="T26" fmla="*/ 58 w 160"/>
                <a:gd name="T27" fmla="*/ 321 h 332"/>
                <a:gd name="T28" fmla="*/ 54 w 160"/>
                <a:gd name="T29" fmla="*/ 326 h 332"/>
                <a:gd name="T30" fmla="*/ 52 w 160"/>
                <a:gd name="T31" fmla="*/ 329 h 332"/>
                <a:gd name="T32" fmla="*/ 46 w 160"/>
                <a:gd name="T33" fmla="*/ 330 h 332"/>
                <a:gd name="T34" fmla="*/ 42 w 160"/>
                <a:gd name="T35" fmla="*/ 331 h 332"/>
                <a:gd name="T36" fmla="*/ 36 w 160"/>
                <a:gd name="T37" fmla="*/ 329 h 332"/>
                <a:gd name="T38" fmla="*/ 31 w 160"/>
                <a:gd name="T39" fmla="*/ 326 h 332"/>
                <a:gd name="T40" fmla="*/ 18 w 160"/>
                <a:gd name="T41" fmla="*/ 315 h 332"/>
                <a:gd name="T42" fmla="*/ 4 w 160"/>
                <a:gd name="T43" fmla="*/ 301 h 332"/>
                <a:gd name="T44" fmla="*/ 4 w 160"/>
                <a:gd name="T45" fmla="*/ 298 h 332"/>
                <a:gd name="T46" fmla="*/ 2 w 160"/>
                <a:gd name="T47" fmla="*/ 293 h 332"/>
                <a:gd name="T48" fmla="*/ 1 w 160"/>
                <a:gd name="T49" fmla="*/ 288 h 332"/>
                <a:gd name="T50" fmla="*/ 0 w 160"/>
                <a:gd name="T51" fmla="*/ 280 h 332"/>
                <a:gd name="T52" fmla="*/ 3 w 160"/>
                <a:gd name="T53" fmla="*/ 271 h 332"/>
                <a:gd name="T54" fmla="*/ 6 w 160"/>
                <a:gd name="T55" fmla="*/ 249 h 332"/>
                <a:gd name="T56" fmla="*/ 12 w 160"/>
                <a:gd name="T57" fmla="*/ 216 h 332"/>
                <a:gd name="T58" fmla="*/ 16 w 160"/>
                <a:gd name="T59" fmla="*/ 199 h 332"/>
                <a:gd name="T60" fmla="*/ 20 w 160"/>
                <a:gd name="T61" fmla="*/ 176 h 332"/>
                <a:gd name="T62" fmla="*/ 24 w 160"/>
                <a:gd name="T63" fmla="*/ 157 h 332"/>
                <a:gd name="T64" fmla="*/ 28 w 160"/>
                <a:gd name="T65" fmla="*/ 136 h 332"/>
                <a:gd name="T66" fmla="*/ 32 w 160"/>
                <a:gd name="T67" fmla="*/ 117 h 332"/>
                <a:gd name="T68" fmla="*/ 36 w 160"/>
                <a:gd name="T69" fmla="*/ 98 h 332"/>
                <a:gd name="T70" fmla="*/ 41 w 160"/>
                <a:gd name="T71" fmla="*/ 72 h 332"/>
                <a:gd name="T72" fmla="*/ 46 w 160"/>
                <a:gd name="T73" fmla="*/ 49 h 332"/>
                <a:gd name="T74" fmla="*/ 50 w 160"/>
                <a:gd name="T75" fmla="*/ 28 h 332"/>
                <a:gd name="T76" fmla="*/ 52 w 160"/>
                <a:gd name="T77" fmla="*/ 14 h 332"/>
                <a:gd name="T78" fmla="*/ 52 w 160"/>
                <a:gd name="T79" fmla="*/ 5 h 332"/>
                <a:gd name="T80" fmla="*/ 54 w 160"/>
                <a:gd name="T81" fmla="*/ 0 h 33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60"/>
                <a:gd name="T124" fmla="*/ 0 h 332"/>
                <a:gd name="T125" fmla="*/ 160 w 160"/>
                <a:gd name="T126" fmla="*/ 332 h 33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60" h="332">
                  <a:moveTo>
                    <a:pt x="126" y="0"/>
                  </a:moveTo>
                  <a:lnTo>
                    <a:pt x="130" y="13"/>
                  </a:lnTo>
                  <a:lnTo>
                    <a:pt x="142" y="47"/>
                  </a:lnTo>
                  <a:lnTo>
                    <a:pt x="149" y="66"/>
                  </a:lnTo>
                  <a:lnTo>
                    <a:pt x="154" y="89"/>
                  </a:lnTo>
                  <a:lnTo>
                    <a:pt x="157" y="116"/>
                  </a:lnTo>
                  <a:lnTo>
                    <a:pt x="159" y="147"/>
                  </a:lnTo>
                  <a:lnTo>
                    <a:pt x="158" y="176"/>
                  </a:lnTo>
                  <a:lnTo>
                    <a:pt x="154" y="246"/>
                  </a:lnTo>
                  <a:lnTo>
                    <a:pt x="149" y="286"/>
                  </a:lnTo>
                  <a:lnTo>
                    <a:pt x="146" y="297"/>
                  </a:lnTo>
                  <a:lnTo>
                    <a:pt x="142" y="307"/>
                  </a:lnTo>
                  <a:lnTo>
                    <a:pt x="138" y="315"/>
                  </a:lnTo>
                  <a:lnTo>
                    <a:pt x="132" y="321"/>
                  </a:lnTo>
                  <a:lnTo>
                    <a:pt x="126" y="326"/>
                  </a:lnTo>
                  <a:lnTo>
                    <a:pt x="118" y="329"/>
                  </a:lnTo>
                  <a:lnTo>
                    <a:pt x="108" y="330"/>
                  </a:lnTo>
                  <a:lnTo>
                    <a:pt x="98" y="331"/>
                  </a:lnTo>
                  <a:lnTo>
                    <a:pt x="84" y="329"/>
                  </a:lnTo>
                  <a:lnTo>
                    <a:pt x="71" y="326"/>
                  </a:lnTo>
                  <a:lnTo>
                    <a:pt x="42" y="315"/>
                  </a:lnTo>
                  <a:lnTo>
                    <a:pt x="9" y="301"/>
                  </a:lnTo>
                  <a:lnTo>
                    <a:pt x="5" y="298"/>
                  </a:lnTo>
                  <a:lnTo>
                    <a:pt x="2" y="293"/>
                  </a:lnTo>
                  <a:lnTo>
                    <a:pt x="1" y="288"/>
                  </a:lnTo>
                  <a:lnTo>
                    <a:pt x="0" y="280"/>
                  </a:lnTo>
                  <a:lnTo>
                    <a:pt x="3" y="271"/>
                  </a:lnTo>
                  <a:lnTo>
                    <a:pt x="13" y="249"/>
                  </a:lnTo>
                  <a:lnTo>
                    <a:pt x="29" y="216"/>
                  </a:lnTo>
                  <a:lnTo>
                    <a:pt x="36" y="199"/>
                  </a:lnTo>
                  <a:lnTo>
                    <a:pt x="46" y="176"/>
                  </a:lnTo>
                  <a:lnTo>
                    <a:pt x="55" y="157"/>
                  </a:lnTo>
                  <a:lnTo>
                    <a:pt x="65" y="136"/>
                  </a:lnTo>
                  <a:lnTo>
                    <a:pt x="73" y="117"/>
                  </a:lnTo>
                  <a:lnTo>
                    <a:pt x="83" y="98"/>
                  </a:lnTo>
                  <a:lnTo>
                    <a:pt x="95" y="72"/>
                  </a:lnTo>
                  <a:lnTo>
                    <a:pt x="105" y="49"/>
                  </a:lnTo>
                  <a:lnTo>
                    <a:pt x="114" y="28"/>
                  </a:lnTo>
                  <a:lnTo>
                    <a:pt x="120" y="14"/>
                  </a:lnTo>
                  <a:lnTo>
                    <a:pt x="123" y="5"/>
                  </a:lnTo>
                  <a:lnTo>
                    <a:pt x="126" y="0"/>
                  </a:lnTo>
                </a:path>
              </a:pathLst>
            </a:custGeom>
            <a:gradFill rotWithShape="0">
              <a:gsLst>
                <a:gs pos="0">
                  <a:srgbClr val="FF0100"/>
                </a:gs>
                <a:gs pos="100000">
                  <a:srgbClr val="00000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 cap="rnd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53"/>
            <p:cNvSpPr>
              <a:spLocks/>
            </p:cNvSpPr>
            <p:nvPr/>
          </p:nvSpPr>
          <p:spPr bwMode="auto">
            <a:xfrm>
              <a:off x="3530" y="2007"/>
              <a:ext cx="60" cy="67"/>
            </a:xfrm>
            <a:custGeom>
              <a:avLst/>
              <a:gdLst>
                <a:gd name="T0" fmla="*/ 0 w 67"/>
                <a:gd name="T1" fmla="*/ 66 h 67"/>
                <a:gd name="T2" fmla="*/ 4 w 67"/>
                <a:gd name="T3" fmla="*/ 63 h 67"/>
                <a:gd name="T4" fmla="*/ 8 w 67"/>
                <a:gd name="T5" fmla="*/ 56 h 67"/>
                <a:gd name="T6" fmla="*/ 12 w 67"/>
                <a:gd name="T7" fmla="*/ 48 h 67"/>
                <a:gd name="T8" fmla="*/ 14 w 67"/>
                <a:gd name="T9" fmla="*/ 42 h 67"/>
                <a:gd name="T10" fmla="*/ 15 w 67"/>
                <a:gd name="T11" fmla="*/ 35 h 67"/>
                <a:gd name="T12" fmla="*/ 17 w 67"/>
                <a:gd name="T13" fmla="*/ 27 h 67"/>
                <a:gd name="T14" fmla="*/ 19 w 67"/>
                <a:gd name="T15" fmla="*/ 19 h 67"/>
                <a:gd name="T16" fmla="*/ 21 w 67"/>
                <a:gd name="T17" fmla="*/ 13 h 67"/>
                <a:gd name="T18" fmla="*/ 24 w 67"/>
                <a:gd name="T19" fmla="*/ 9 h 67"/>
                <a:gd name="T20" fmla="*/ 27 w 67"/>
                <a:gd name="T21" fmla="*/ 4 h 67"/>
                <a:gd name="T22" fmla="*/ 30 w 67"/>
                <a:gd name="T23" fmla="*/ 0 h 6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7"/>
                <a:gd name="T37" fmla="*/ 0 h 67"/>
                <a:gd name="T38" fmla="*/ 67 w 67"/>
                <a:gd name="T39" fmla="*/ 67 h 6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7" h="67">
                  <a:moveTo>
                    <a:pt x="0" y="66"/>
                  </a:moveTo>
                  <a:lnTo>
                    <a:pt x="8" y="63"/>
                  </a:lnTo>
                  <a:lnTo>
                    <a:pt x="16" y="56"/>
                  </a:lnTo>
                  <a:lnTo>
                    <a:pt x="25" y="48"/>
                  </a:lnTo>
                  <a:lnTo>
                    <a:pt x="31" y="42"/>
                  </a:lnTo>
                  <a:lnTo>
                    <a:pt x="34" y="35"/>
                  </a:lnTo>
                  <a:lnTo>
                    <a:pt x="38" y="27"/>
                  </a:lnTo>
                  <a:lnTo>
                    <a:pt x="42" y="19"/>
                  </a:lnTo>
                  <a:lnTo>
                    <a:pt x="46" y="13"/>
                  </a:lnTo>
                  <a:lnTo>
                    <a:pt x="51" y="9"/>
                  </a:lnTo>
                  <a:lnTo>
                    <a:pt x="57" y="4"/>
                  </a:lnTo>
                  <a:lnTo>
                    <a:pt x="66" y="0"/>
                  </a:lnTo>
                </a:path>
              </a:pathLst>
            </a:custGeom>
            <a:gradFill rotWithShape="0">
              <a:gsLst>
                <a:gs pos="0">
                  <a:srgbClr val="FF0100"/>
                </a:gs>
                <a:gs pos="100000">
                  <a:srgbClr val="000000"/>
                </a:gs>
              </a:gsLst>
              <a:lin ang="5400000" scaled="1"/>
            </a:gradFill>
            <a:ln w="1270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grpSp>
          <p:nvGrpSpPr>
            <p:cNvPr id="7" name="Group 54"/>
            <p:cNvGrpSpPr>
              <a:grpSpLocks/>
            </p:cNvGrpSpPr>
            <p:nvPr/>
          </p:nvGrpSpPr>
          <p:grpSpPr bwMode="auto">
            <a:xfrm>
              <a:off x="3162" y="1883"/>
              <a:ext cx="480" cy="584"/>
              <a:chOff x="3558" y="1883"/>
              <a:chExt cx="540" cy="584"/>
            </a:xfrm>
          </p:grpSpPr>
          <p:grpSp>
            <p:nvGrpSpPr>
              <p:cNvPr id="8" name="Group 55"/>
              <p:cNvGrpSpPr>
                <a:grpSpLocks/>
              </p:cNvGrpSpPr>
              <p:nvPr/>
            </p:nvGrpSpPr>
            <p:grpSpPr bwMode="auto">
              <a:xfrm>
                <a:off x="3558" y="1883"/>
                <a:ext cx="540" cy="584"/>
                <a:chOff x="3558" y="1883"/>
                <a:chExt cx="540" cy="584"/>
              </a:xfrm>
            </p:grpSpPr>
            <p:grpSp>
              <p:nvGrpSpPr>
                <p:cNvPr id="9" name="Group 56"/>
                <p:cNvGrpSpPr>
                  <a:grpSpLocks/>
                </p:cNvGrpSpPr>
                <p:nvPr/>
              </p:nvGrpSpPr>
              <p:grpSpPr bwMode="auto">
                <a:xfrm>
                  <a:off x="3635" y="1883"/>
                  <a:ext cx="443" cy="535"/>
                  <a:chOff x="3635" y="1883"/>
                  <a:chExt cx="443" cy="535"/>
                </a:xfrm>
              </p:grpSpPr>
              <p:sp>
                <p:nvSpPr>
                  <p:cNvPr id="197" name="Freeform 57"/>
                  <p:cNvSpPr>
                    <a:spLocks/>
                  </p:cNvSpPr>
                  <p:nvPr/>
                </p:nvSpPr>
                <p:spPr bwMode="auto">
                  <a:xfrm>
                    <a:off x="3635" y="1883"/>
                    <a:ext cx="269" cy="535"/>
                  </a:xfrm>
                  <a:custGeom>
                    <a:avLst/>
                    <a:gdLst>
                      <a:gd name="T0" fmla="*/ 268 w 269"/>
                      <a:gd name="T1" fmla="*/ 0 h 535"/>
                      <a:gd name="T2" fmla="*/ 268 w 269"/>
                      <a:gd name="T3" fmla="*/ 105 h 535"/>
                      <a:gd name="T4" fmla="*/ 266 w 269"/>
                      <a:gd name="T5" fmla="*/ 116 h 535"/>
                      <a:gd name="T6" fmla="*/ 263 w 269"/>
                      <a:gd name="T7" fmla="*/ 126 h 535"/>
                      <a:gd name="T8" fmla="*/ 259 w 269"/>
                      <a:gd name="T9" fmla="*/ 135 h 535"/>
                      <a:gd name="T10" fmla="*/ 255 w 269"/>
                      <a:gd name="T11" fmla="*/ 144 h 535"/>
                      <a:gd name="T12" fmla="*/ 248 w 269"/>
                      <a:gd name="T13" fmla="*/ 148 h 535"/>
                      <a:gd name="T14" fmla="*/ 240 w 269"/>
                      <a:gd name="T15" fmla="*/ 153 h 535"/>
                      <a:gd name="T16" fmla="*/ 232 w 269"/>
                      <a:gd name="T17" fmla="*/ 157 h 535"/>
                      <a:gd name="T18" fmla="*/ 223 w 269"/>
                      <a:gd name="T19" fmla="*/ 162 h 535"/>
                      <a:gd name="T20" fmla="*/ 217 w 269"/>
                      <a:gd name="T21" fmla="*/ 167 h 535"/>
                      <a:gd name="T22" fmla="*/ 211 w 269"/>
                      <a:gd name="T23" fmla="*/ 172 h 535"/>
                      <a:gd name="T24" fmla="*/ 206 w 269"/>
                      <a:gd name="T25" fmla="*/ 179 h 535"/>
                      <a:gd name="T26" fmla="*/ 202 w 269"/>
                      <a:gd name="T27" fmla="*/ 187 h 535"/>
                      <a:gd name="T28" fmla="*/ 198 w 269"/>
                      <a:gd name="T29" fmla="*/ 196 h 535"/>
                      <a:gd name="T30" fmla="*/ 193 w 269"/>
                      <a:gd name="T31" fmla="*/ 208 h 535"/>
                      <a:gd name="T32" fmla="*/ 186 w 269"/>
                      <a:gd name="T33" fmla="*/ 227 h 535"/>
                      <a:gd name="T34" fmla="*/ 181 w 269"/>
                      <a:gd name="T35" fmla="*/ 245 h 535"/>
                      <a:gd name="T36" fmla="*/ 177 w 269"/>
                      <a:gd name="T37" fmla="*/ 260 h 535"/>
                      <a:gd name="T38" fmla="*/ 174 w 269"/>
                      <a:gd name="T39" fmla="*/ 272 h 535"/>
                      <a:gd name="T40" fmla="*/ 172 w 269"/>
                      <a:gd name="T41" fmla="*/ 283 h 535"/>
                      <a:gd name="T42" fmla="*/ 171 w 269"/>
                      <a:gd name="T43" fmla="*/ 292 h 535"/>
                      <a:gd name="T44" fmla="*/ 172 w 269"/>
                      <a:gd name="T45" fmla="*/ 303 h 535"/>
                      <a:gd name="T46" fmla="*/ 174 w 269"/>
                      <a:gd name="T47" fmla="*/ 313 h 535"/>
                      <a:gd name="T48" fmla="*/ 177 w 269"/>
                      <a:gd name="T49" fmla="*/ 327 h 535"/>
                      <a:gd name="T50" fmla="*/ 177 w 269"/>
                      <a:gd name="T51" fmla="*/ 336 h 535"/>
                      <a:gd name="T52" fmla="*/ 177 w 269"/>
                      <a:gd name="T53" fmla="*/ 347 h 535"/>
                      <a:gd name="T54" fmla="*/ 175 w 269"/>
                      <a:gd name="T55" fmla="*/ 359 h 535"/>
                      <a:gd name="T56" fmla="*/ 174 w 269"/>
                      <a:gd name="T57" fmla="*/ 370 h 535"/>
                      <a:gd name="T58" fmla="*/ 171 w 269"/>
                      <a:gd name="T59" fmla="*/ 386 h 535"/>
                      <a:gd name="T60" fmla="*/ 168 w 269"/>
                      <a:gd name="T61" fmla="*/ 400 h 535"/>
                      <a:gd name="T62" fmla="*/ 165 w 269"/>
                      <a:gd name="T63" fmla="*/ 411 h 535"/>
                      <a:gd name="T64" fmla="*/ 160 w 269"/>
                      <a:gd name="T65" fmla="*/ 423 h 535"/>
                      <a:gd name="T66" fmla="*/ 157 w 269"/>
                      <a:gd name="T67" fmla="*/ 429 h 535"/>
                      <a:gd name="T68" fmla="*/ 154 w 269"/>
                      <a:gd name="T69" fmla="*/ 435 h 535"/>
                      <a:gd name="T70" fmla="*/ 150 w 269"/>
                      <a:gd name="T71" fmla="*/ 440 h 535"/>
                      <a:gd name="T72" fmla="*/ 142 w 269"/>
                      <a:gd name="T73" fmla="*/ 446 h 535"/>
                      <a:gd name="T74" fmla="*/ 133 w 269"/>
                      <a:gd name="T75" fmla="*/ 452 h 535"/>
                      <a:gd name="T76" fmla="*/ 122 w 269"/>
                      <a:gd name="T77" fmla="*/ 458 h 535"/>
                      <a:gd name="T78" fmla="*/ 109 w 269"/>
                      <a:gd name="T79" fmla="*/ 465 h 535"/>
                      <a:gd name="T80" fmla="*/ 97 w 269"/>
                      <a:gd name="T81" fmla="*/ 473 h 535"/>
                      <a:gd name="T82" fmla="*/ 80 w 269"/>
                      <a:gd name="T83" fmla="*/ 484 h 535"/>
                      <a:gd name="T84" fmla="*/ 63 w 269"/>
                      <a:gd name="T85" fmla="*/ 495 h 535"/>
                      <a:gd name="T86" fmla="*/ 43 w 269"/>
                      <a:gd name="T87" fmla="*/ 507 h 535"/>
                      <a:gd name="T88" fmla="*/ 21 w 269"/>
                      <a:gd name="T89" fmla="*/ 522 h 535"/>
                      <a:gd name="T90" fmla="*/ 0 w 269"/>
                      <a:gd name="T91" fmla="*/ 534 h 535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269"/>
                      <a:gd name="T139" fmla="*/ 0 h 535"/>
                      <a:gd name="T140" fmla="*/ 269 w 269"/>
                      <a:gd name="T141" fmla="*/ 535 h 535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269" h="535">
                        <a:moveTo>
                          <a:pt x="268" y="0"/>
                        </a:moveTo>
                        <a:lnTo>
                          <a:pt x="268" y="105"/>
                        </a:lnTo>
                        <a:lnTo>
                          <a:pt x="266" y="116"/>
                        </a:lnTo>
                        <a:lnTo>
                          <a:pt x="263" y="126"/>
                        </a:lnTo>
                        <a:lnTo>
                          <a:pt x="259" y="135"/>
                        </a:lnTo>
                        <a:lnTo>
                          <a:pt x="255" y="144"/>
                        </a:lnTo>
                        <a:lnTo>
                          <a:pt x="248" y="148"/>
                        </a:lnTo>
                        <a:lnTo>
                          <a:pt x="240" y="153"/>
                        </a:lnTo>
                        <a:lnTo>
                          <a:pt x="232" y="157"/>
                        </a:lnTo>
                        <a:lnTo>
                          <a:pt x="223" y="162"/>
                        </a:lnTo>
                        <a:lnTo>
                          <a:pt x="217" y="167"/>
                        </a:lnTo>
                        <a:lnTo>
                          <a:pt x="211" y="172"/>
                        </a:lnTo>
                        <a:lnTo>
                          <a:pt x="206" y="179"/>
                        </a:lnTo>
                        <a:lnTo>
                          <a:pt x="202" y="187"/>
                        </a:lnTo>
                        <a:lnTo>
                          <a:pt x="198" y="196"/>
                        </a:lnTo>
                        <a:lnTo>
                          <a:pt x="193" y="208"/>
                        </a:lnTo>
                        <a:lnTo>
                          <a:pt x="186" y="227"/>
                        </a:lnTo>
                        <a:lnTo>
                          <a:pt x="181" y="245"/>
                        </a:lnTo>
                        <a:lnTo>
                          <a:pt x="177" y="260"/>
                        </a:lnTo>
                        <a:lnTo>
                          <a:pt x="174" y="272"/>
                        </a:lnTo>
                        <a:lnTo>
                          <a:pt x="172" y="283"/>
                        </a:lnTo>
                        <a:lnTo>
                          <a:pt x="171" y="292"/>
                        </a:lnTo>
                        <a:lnTo>
                          <a:pt x="172" y="303"/>
                        </a:lnTo>
                        <a:lnTo>
                          <a:pt x="174" y="313"/>
                        </a:lnTo>
                        <a:lnTo>
                          <a:pt x="177" y="327"/>
                        </a:lnTo>
                        <a:lnTo>
                          <a:pt x="177" y="336"/>
                        </a:lnTo>
                        <a:lnTo>
                          <a:pt x="177" y="347"/>
                        </a:lnTo>
                        <a:lnTo>
                          <a:pt x="175" y="359"/>
                        </a:lnTo>
                        <a:lnTo>
                          <a:pt x="174" y="370"/>
                        </a:lnTo>
                        <a:lnTo>
                          <a:pt x="171" y="386"/>
                        </a:lnTo>
                        <a:lnTo>
                          <a:pt x="168" y="400"/>
                        </a:lnTo>
                        <a:lnTo>
                          <a:pt x="165" y="411"/>
                        </a:lnTo>
                        <a:lnTo>
                          <a:pt x="160" y="423"/>
                        </a:lnTo>
                        <a:lnTo>
                          <a:pt x="157" y="429"/>
                        </a:lnTo>
                        <a:lnTo>
                          <a:pt x="154" y="435"/>
                        </a:lnTo>
                        <a:lnTo>
                          <a:pt x="150" y="440"/>
                        </a:lnTo>
                        <a:lnTo>
                          <a:pt x="142" y="446"/>
                        </a:lnTo>
                        <a:lnTo>
                          <a:pt x="133" y="452"/>
                        </a:lnTo>
                        <a:lnTo>
                          <a:pt x="122" y="458"/>
                        </a:lnTo>
                        <a:lnTo>
                          <a:pt x="109" y="465"/>
                        </a:lnTo>
                        <a:lnTo>
                          <a:pt x="97" y="473"/>
                        </a:lnTo>
                        <a:lnTo>
                          <a:pt x="80" y="484"/>
                        </a:lnTo>
                        <a:lnTo>
                          <a:pt x="63" y="495"/>
                        </a:lnTo>
                        <a:lnTo>
                          <a:pt x="43" y="507"/>
                        </a:lnTo>
                        <a:lnTo>
                          <a:pt x="21" y="522"/>
                        </a:lnTo>
                        <a:lnTo>
                          <a:pt x="0" y="534"/>
                        </a:lnTo>
                      </a:path>
                    </a:pathLst>
                  </a:custGeom>
                  <a:noFill/>
                  <a:ln w="50800" cap="rnd" cmpd="sng">
                    <a:solidFill>
                      <a:srgbClr val="99003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GB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8" name="Freeform 58"/>
                  <p:cNvSpPr>
                    <a:spLocks/>
                  </p:cNvSpPr>
                  <p:nvPr/>
                </p:nvSpPr>
                <p:spPr bwMode="auto">
                  <a:xfrm>
                    <a:off x="3904" y="1978"/>
                    <a:ext cx="174" cy="219"/>
                  </a:xfrm>
                  <a:custGeom>
                    <a:avLst/>
                    <a:gdLst>
                      <a:gd name="T0" fmla="*/ 0 w 174"/>
                      <a:gd name="T1" fmla="*/ 0 h 219"/>
                      <a:gd name="T2" fmla="*/ 5 w 174"/>
                      <a:gd name="T3" fmla="*/ 15 h 219"/>
                      <a:gd name="T4" fmla="*/ 12 w 174"/>
                      <a:gd name="T5" fmla="*/ 30 h 219"/>
                      <a:gd name="T6" fmla="*/ 16 w 174"/>
                      <a:gd name="T7" fmla="*/ 38 h 219"/>
                      <a:gd name="T8" fmla="*/ 21 w 174"/>
                      <a:gd name="T9" fmla="*/ 46 h 219"/>
                      <a:gd name="T10" fmla="*/ 27 w 174"/>
                      <a:gd name="T11" fmla="*/ 53 h 219"/>
                      <a:gd name="T12" fmla="*/ 35 w 174"/>
                      <a:gd name="T13" fmla="*/ 60 h 219"/>
                      <a:gd name="T14" fmla="*/ 44 w 174"/>
                      <a:gd name="T15" fmla="*/ 66 h 219"/>
                      <a:gd name="T16" fmla="*/ 51 w 174"/>
                      <a:gd name="T17" fmla="*/ 69 h 219"/>
                      <a:gd name="T18" fmla="*/ 57 w 174"/>
                      <a:gd name="T19" fmla="*/ 72 h 219"/>
                      <a:gd name="T20" fmla="*/ 65 w 174"/>
                      <a:gd name="T21" fmla="*/ 74 h 219"/>
                      <a:gd name="T22" fmla="*/ 74 w 174"/>
                      <a:gd name="T23" fmla="*/ 75 h 219"/>
                      <a:gd name="T24" fmla="*/ 81 w 174"/>
                      <a:gd name="T25" fmla="*/ 76 h 219"/>
                      <a:gd name="T26" fmla="*/ 88 w 174"/>
                      <a:gd name="T27" fmla="*/ 77 h 219"/>
                      <a:gd name="T28" fmla="*/ 95 w 174"/>
                      <a:gd name="T29" fmla="*/ 80 h 219"/>
                      <a:gd name="T30" fmla="*/ 99 w 174"/>
                      <a:gd name="T31" fmla="*/ 82 h 219"/>
                      <a:gd name="T32" fmla="*/ 105 w 174"/>
                      <a:gd name="T33" fmla="*/ 87 h 219"/>
                      <a:gd name="T34" fmla="*/ 110 w 174"/>
                      <a:gd name="T35" fmla="*/ 91 h 219"/>
                      <a:gd name="T36" fmla="*/ 115 w 174"/>
                      <a:gd name="T37" fmla="*/ 98 h 219"/>
                      <a:gd name="T38" fmla="*/ 118 w 174"/>
                      <a:gd name="T39" fmla="*/ 106 h 219"/>
                      <a:gd name="T40" fmla="*/ 122 w 174"/>
                      <a:gd name="T41" fmla="*/ 114 h 219"/>
                      <a:gd name="T42" fmla="*/ 124 w 174"/>
                      <a:gd name="T43" fmla="*/ 123 h 219"/>
                      <a:gd name="T44" fmla="*/ 128 w 174"/>
                      <a:gd name="T45" fmla="*/ 134 h 219"/>
                      <a:gd name="T46" fmla="*/ 133 w 174"/>
                      <a:gd name="T47" fmla="*/ 152 h 219"/>
                      <a:gd name="T48" fmla="*/ 139 w 174"/>
                      <a:gd name="T49" fmla="*/ 168 h 219"/>
                      <a:gd name="T50" fmla="*/ 146 w 174"/>
                      <a:gd name="T51" fmla="*/ 187 h 219"/>
                      <a:gd name="T52" fmla="*/ 149 w 174"/>
                      <a:gd name="T53" fmla="*/ 194 h 219"/>
                      <a:gd name="T54" fmla="*/ 153 w 174"/>
                      <a:gd name="T55" fmla="*/ 203 h 219"/>
                      <a:gd name="T56" fmla="*/ 157 w 174"/>
                      <a:gd name="T57" fmla="*/ 210 h 219"/>
                      <a:gd name="T58" fmla="*/ 160 w 174"/>
                      <a:gd name="T59" fmla="*/ 214 h 219"/>
                      <a:gd name="T60" fmla="*/ 164 w 174"/>
                      <a:gd name="T61" fmla="*/ 217 h 219"/>
                      <a:gd name="T62" fmla="*/ 168 w 174"/>
                      <a:gd name="T63" fmla="*/ 218 h 219"/>
                      <a:gd name="T64" fmla="*/ 173 w 174"/>
                      <a:gd name="T65" fmla="*/ 218 h 219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w 174"/>
                      <a:gd name="T100" fmla="*/ 0 h 219"/>
                      <a:gd name="T101" fmla="*/ 174 w 174"/>
                      <a:gd name="T102" fmla="*/ 219 h 219"/>
                    </a:gdLst>
                    <a:ahLst/>
                    <a:cxnLst>
                      <a:cxn ang="T66">
                        <a:pos x="T0" y="T1"/>
                      </a:cxn>
                      <a:cxn ang="T67">
                        <a:pos x="T2" y="T3"/>
                      </a:cxn>
                      <a:cxn ang="T68">
                        <a:pos x="T4" y="T5"/>
                      </a:cxn>
                      <a:cxn ang="T69">
                        <a:pos x="T6" y="T7"/>
                      </a:cxn>
                      <a:cxn ang="T70">
                        <a:pos x="T8" y="T9"/>
                      </a:cxn>
                      <a:cxn ang="T71">
                        <a:pos x="T10" y="T11"/>
                      </a:cxn>
                      <a:cxn ang="T72">
                        <a:pos x="T12" y="T13"/>
                      </a:cxn>
                      <a:cxn ang="T73">
                        <a:pos x="T14" y="T15"/>
                      </a:cxn>
                      <a:cxn ang="T74">
                        <a:pos x="T16" y="T17"/>
                      </a:cxn>
                      <a:cxn ang="T75">
                        <a:pos x="T18" y="T19"/>
                      </a:cxn>
                      <a:cxn ang="T76">
                        <a:pos x="T20" y="T21"/>
                      </a:cxn>
                      <a:cxn ang="T77">
                        <a:pos x="T22" y="T23"/>
                      </a:cxn>
                      <a:cxn ang="T78">
                        <a:pos x="T24" y="T25"/>
                      </a:cxn>
                      <a:cxn ang="T79">
                        <a:pos x="T26" y="T27"/>
                      </a:cxn>
                      <a:cxn ang="T80">
                        <a:pos x="T28" y="T29"/>
                      </a:cxn>
                      <a:cxn ang="T81">
                        <a:pos x="T30" y="T31"/>
                      </a:cxn>
                      <a:cxn ang="T82">
                        <a:pos x="T32" y="T33"/>
                      </a:cxn>
                      <a:cxn ang="T83">
                        <a:pos x="T34" y="T35"/>
                      </a:cxn>
                      <a:cxn ang="T84">
                        <a:pos x="T36" y="T37"/>
                      </a:cxn>
                      <a:cxn ang="T85">
                        <a:pos x="T38" y="T39"/>
                      </a:cxn>
                      <a:cxn ang="T86">
                        <a:pos x="T40" y="T41"/>
                      </a:cxn>
                      <a:cxn ang="T87">
                        <a:pos x="T42" y="T43"/>
                      </a:cxn>
                      <a:cxn ang="T88">
                        <a:pos x="T44" y="T45"/>
                      </a:cxn>
                      <a:cxn ang="T89">
                        <a:pos x="T46" y="T47"/>
                      </a:cxn>
                      <a:cxn ang="T90">
                        <a:pos x="T48" y="T49"/>
                      </a:cxn>
                      <a:cxn ang="T91">
                        <a:pos x="T50" y="T51"/>
                      </a:cxn>
                      <a:cxn ang="T92">
                        <a:pos x="T52" y="T53"/>
                      </a:cxn>
                      <a:cxn ang="T93">
                        <a:pos x="T54" y="T55"/>
                      </a:cxn>
                      <a:cxn ang="T94">
                        <a:pos x="T56" y="T57"/>
                      </a:cxn>
                      <a:cxn ang="T95">
                        <a:pos x="T58" y="T59"/>
                      </a:cxn>
                      <a:cxn ang="T96">
                        <a:pos x="T60" y="T61"/>
                      </a:cxn>
                      <a:cxn ang="T97">
                        <a:pos x="T62" y="T63"/>
                      </a:cxn>
                      <a:cxn ang="T98">
                        <a:pos x="T64" y="T65"/>
                      </a:cxn>
                    </a:cxnLst>
                    <a:rect l="T99" t="T100" r="T101" b="T102"/>
                    <a:pathLst>
                      <a:path w="174" h="219">
                        <a:moveTo>
                          <a:pt x="0" y="0"/>
                        </a:moveTo>
                        <a:lnTo>
                          <a:pt x="5" y="15"/>
                        </a:lnTo>
                        <a:lnTo>
                          <a:pt x="12" y="30"/>
                        </a:lnTo>
                        <a:lnTo>
                          <a:pt x="16" y="38"/>
                        </a:lnTo>
                        <a:lnTo>
                          <a:pt x="21" y="46"/>
                        </a:lnTo>
                        <a:lnTo>
                          <a:pt x="27" y="53"/>
                        </a:lnTo>
                        <a:lnTo>
                          <a:pt x="35" y="60"/>
                        </a:lnTo>
                        <a:lnTo>
                          <a:pt x="44" y="66"/>
                        </a:lnTo>
                        <a:lnTo>
                          <a:pt x="51" y="69"/>
                        </a:lnTo>
                        <a:lnTo>
                          <a:pt x="57" y="72"/>
                        </a:lnTo>
                        <a:lnTo>
                          <a:pt x="65" y="74"/>
                        </a:lnTo>
                        <a:lnTo>
                          <a:pt x="74" y="75"/>
                        </a:lnTo>
                        <a:lnTo>
                          <a:pt x="81" y="76"/>
                        </a:lnTo>
                        <a:lnTo>
                          <a:pt x="88" y="77"/>
                        </a:lnTo>
                        <a:lnTo>
                          <a:pt x="95" y="80"/>
                        </a:lnTo>
                        <a:lnTo>
                          <a:pt x="99" y="82"/>
                        </a:lnTo>
                        <a:lnTo>
                          <a:pt x="105" y="87"/>
                        </a:lnTo>
                        <a:lnTo>
                          <a:pt x="110" y="91"/>
                        </a:lnTo>
                        <a:lnTo>
                          <a:pt x="115" y="98"/>
                        </a:lnTo>
                        <a:lnTo>
                          <a:pt x="118" y="106"/>
                        </a:lnTo>
                        <a:lnTo>
                          <a:pt x="122" y="114"/>
                        </a:lnTo>
                        <a:lnTo>
                          <a:pt x="124" y="123"/>
                        </a:lnTo>
                        <a:lnTo>
                          <a:pt x="128" y="134"/>
                        </a:lnTo>
                        <a:lnTo>
                          <a:pt x="133" y="152"/>
                        </a:lnTo>
                        <a:lnTo>
                          <a:pt x="139" y="168"/>
                        </a:lnTo>
                        <a:lnTo>
                          <a:pt x="146" y="187"/>
                        </a:lnTo>
                        <a:lnTo>
                          <a:pt x="149" y="194"/>
                        </a:lnTo>
                        <a:lnTo>
                          <a:pt x="153" y="203"/>
                        </a:lnTo>
                        <a:lnTo>
                          <a:pt x="157" y="210"/>
                        </a:lnTo>
                        <a:lnTo>
                          <a:pt x="160" y="214"/>
                        </a:lnTo>
                        <a:lnTo>
                          <a:pt x="164" y="217"/>
                        </a:lnTo>
                        <a:lnTo>
                          <a:pt x="168" y="218"/>
                        </a:lnTo>
                        <a:lnTo>
                          <a:pt x="173" y="218"/>
                        </a:lnTo>
                      </a:path>
                    </a:pathLst>
                  </a:custGeom>
                  <a:noFill/>
                  <a:ln w="50800" cap="rnd" cmpd="sng">
                    <a:solidFill>
                      <a:srgbClr val="990033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GB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3" name="Group 59"/>
                <p:cNvGrpSpPr>
                  <a:grpSpLocks/>
                </p:cNvGrpSpPr>
                <p:nvPr/>
              </p:nvGrpSpPr>
              <p:grpSpPr bwMode="auto">
                <a:xfrm>
                  <a:off x="3558" y="1923"/>
                  <a:ext cx="540" cy="544"/>
                  <a:chOff x="3558" y="1923"/>
                  <a:chExt cx="540" cy="544"/>
                </a:xfrm>
              </p:grpSpPr>
              <p:grpSp>
                <p:nvGrpSpPr>
                  <p:cNvPr id="22" name="Group 60"/>
                  <p:cNvGrpSpPr>
                    <a:grpSpLocks/>
                  </p:cNvGrpSpPr>
                  <p:nvPr/>
                </p:nvGrpSpPr>
                <p:grpSpPr bwMode="auto">
                  <a:xfrm>
                    <a:off x="4024" y="2011"/>
                    <a:ext cx="74" cy="108"/>
                    <a:chOff x="4024" y="2011"/>
                    <a:chExt cx="74" cy="108"/>
                  </a:xfrm>
                </p:grpSpPr>
                <p:sp>
                  <p:nvSpPr>
                    <p:cNvPr id="195" name="Freeform 61"/>
                    <p:cNvSpPr>
                      <a:spLocks/>
                    </p:cNvSpPr>
                    <p:nvPr/>
                  </p:nvSpPr>
                  <p:spPr bwMode="auto">
                    <a:xfrm>
                      <a:off x="4024" y="2011"/>
                      <a:ext cx="65" cy="74"/>
                    </a:xfrm>
                    <a:custGeom>
                      <a:avLst/>
                      <a:gdLst>
                        <a:gd name="T0" fmla="*/ 0 w 65"/>
                        <a:gd name="T1" fmla="*/ 73 h 74"/>
                        <a:gd name="T2" fmla="*/ 9 w 65"/>
                        <a:gd name="T3" fmla="*/ 68 h 74"/>
                        <a:gd name="T4" fmla="*/ 17 w 65"/>
                        <a:gd name="T5" fmla="*/ 63 h 74"/>
                        <a:gd name="T6" fmla="*/ 29 w 65"/>
                        <a:gd name="T7" fmla="*/ 54 h 74"/>
                        <a:gd name="T8" fmla="*/ 36 w 65"/>
                        <a:gd name="T9" fmla="*/ 46 h 74"/>
                        <a:gd name="T10" fmla="*/ 43 w 65"/>
                        <a:gd name="T11" fmla="*/ 37 h 74"/>
                        <a:gd name="T12" fmla="*/ 50 w 65"/>
                        <a:gd name="T13" fmla="*/ 24 h 74"/>
                        <a:gd name="T14" fmla="*/ 58 w 65"/>
                        <a:gd name="T15" fmla="*/ 12 h 74"/>
                        <a:gd name="T16" fmla="*/ 64 w 65"/>
                        <a:gd name="T17" fmla="*/ 0 h 74"/>
                        <a:gd name="T18" fmla="*/ 0 60000 65536"/>
                        <a:gd name="T19" fmla="*/ 0 60000 65536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w 65"/>
                        <a:gd name="T28" fmla="*/ 0 h 74"/>
                        <a:gd name="T29" fmla="*/ 65 w 65"/>
                        <a:gd name="T30" fmla="*/ 74 h 74"/>
                      </a:gdLst>
                      <a:ahLst/>
                      <a:cxnLst>
                        <a:cxn ang="T18">
                          <a:pos x="T0" y="T1"/>
                        </a:cxn>
                        <a:cxn ang="T19">
                          <a:pos x="T2" y="T3"/>
                        </a:cxn>
                        <a:cxn ang="T20">
                          <a:pos x="T4" y="T5"/>
                        </a:cxn>
                        <a:cxn ang="T21">
                          <a:pos x="T6" y="T7"/>
                        </a:cxn>
                        <a:cxn ang="T22">
                          <a:pos x="T8" y="T9"/>
                        </a:cxn>
                        <a:cxn ang="T23">
                          <a:pos x="T10" y="T11"/>
                        </a:cxn>
                        <a:cxn ang="T24">
                          <a:pos x="T12" y="T13"/>
                        </a:cxn>
                        <a:cxn ang="T25">
                          <a:pos x="T14" y="T15"/>
                        </a:cxn>
                        <a:cxn ang="T26">
                          <a:pos x="T16" y="T17"/>
                        </a:cxn>
                      </a:cxnLst>
                      <a:rect l="T27" t="T28" r="T29" b="T30"/>
                      <a:pathLst>
                        <a:path w="65" h="74">
                          <a:moveTo>
                            <a:pt x="0" y="73"/>
                          </a:moveTo>
                          <a:lnTo>
                            <a:pt x="9" y="68"/>
                          </a:lnTo>
                          <a:lnTo>
                            <a:pt x="17" y="63"/>
                          </a:lnTo>
                          <a:lnTo>
                            <a:pt x="29" y="54"/>
                          </a:lnTo>
                          <a:lnTo>
                            <a:pt x="36" y="46"/>
                          </a:lnTo>
                          <a:lnTo>
                            <a:pt x="43" y="37"/>
                          </a:lnTo>
                          <a:lnTo>
                            <a:pt x="50" y="24"/>
                          </a:lnTo>
                          <a:lnTo>
                            <a:pt x="58" y="12"/>
                          </a:lnTo>
                          <a:lnTo>
                            <a:pt x="64" y="0"/>
                          </a:lnTo>
                        </a:path>
                      </a:pathLst>
                    </a:custGeom>
                    <a:noFill/>
                    <a:ln w="50800" cap="rnd" cmpd="sng">
                      <a:solidFill>
                        <a:srgbClr val="9900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/>
                    <a:p>
                      <a:endParaRPr lang="en-GB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96" name="Freeform 62"/>
                    <p:cNvSpPr>
                      <a:spLocks/>
                    </p:cNvSpPr>
                    <p:nvPr/>
                  </p:nvSpPr>
                  <p:spPr bwMode="auto">
                    <a:xfrm>
                      <a:off x="4037" y="2087"/>
                      <a:ext cx="61" cy="32"/>
                    </a:xfrm>
                    <a:custGeom>
                      <a:avLst/>
                      <a:gdLst>
                        <a:gd name="T0" fmla="*/ 0 w 61"/>
                        <a:gd name="T1" fmla="*/ 31 h 32"/>
                        <a:gd name="T2" fmla="*/ 4 w 61"/>
                        <a:gd name="T3" fmla="*/ 27 h 32"/>
                        <a:gd name="T4" fmla="*/ 8 w 61"/>
                        <a:gd name="T5" fmla="*/ 23 h 32"/>
                        <a:gd name="T6" fmla="*/ 12 w 61"/>
                        <a:gd name="T7" fmla="*/ 20 h 32"/>
                        <a:gd name="T8" fmla="*/ 19 w 61"/>
                        <a:gd name="T9" fmla="*/ 19 h 32"/>
                        <a:gd name="T10" fmla="*/ 25 w 61"/>
                        <a:gd name="T11" fmla="*/ 18 h 32"/>
                        <a:gd name="T12" fmla="*/ 32 w 61"/>
                        <a:gd name="T13" fmla="*/ 16 h 32"/>
                        <a:gd name="T14" fmla="*/ 39 w 61"/>
                        <a:gd name="T15" fmla="*/ 14 h 32"/>
                        <a:gd name="T16" fmla="*/ 46 w 61"/>
                        <a:gd name="T17" fmla="*/ 12 h 32"/>
                        <a:gd name="T18" fmla="*/ 52 w 61"/>
                        <a:gd name="T19" fmla="*/ 8 h 32"/>
                        <a:gd name="T20" fmla="*/ 57 w 61"/>
                        <a:gd name="T21" fmla="*/ 5 h 32"/>
                        <a:gd name="T22" fmla="*/ 60 w 61"/>
                        <a:gd name="T23" fmla="*/ 0 h 32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w 61"/>
                        <a:gd name="T37" fmla="*/ 0 h 32"/>
                        <a:gd name="T38" fmla="*/ 61 w 61"/>
                        <a:gd name="T39" fmla="*/ 32 h 32"/>
                      </a:gdLst>
                      <a:ahLst/>
                      <a:cxnLst>
                        <a:cxn ang="T24">
                          <a:pos x="T0" y="T1"/>
                        </a:cxn>
                        <a:cxn ang="T25">
                          <a:pos x="T2" y="T3"/>
                        </a:cxn>
                        <a:cxn ang="T26">
                          <a:pos x="T4" y="T5"/>
                        </a:cxn>
                        <a:cxn ang="T27">
                          <a:pos x="T6" y="T7"/>
                        </a:cxn>
                        <a:cxn ang="T28">
                          <a:pos x="T8" y="T9"/>
                        </a:cxn>
                        <a:cxn ang="T29">
                          <a:pos x="T10" y="T11"/>
                        </a:cxn>
                        <a:cxn ang="T30">
                          <a:pos x="T12" y="T13"/>
                        </a:cxn>
                        <a:cxn ang="T31">
                          <a:pos x="T14" y="T15"/>
                        </a:cxn>
                        <a:cxn ang="T32">
                          <a:pos x="T16" y="T17"/>
                        </a:cxn>
                        <a:cxn ang="T33">
                          <a:pos x="T18" y="T19"/>
                        </a:cxn>
                        <a:cxn ang="T34">
                          <a:pos x="T20" y="T21"/>
                        </a:cxn>
                        <a:cxn ang="T35">
                          <a:pos x="T22" y="T23"/>
                        </a:cxn>
                      </a:cxnLst>
                      <a:rect l="T36" t="T37" r="T38" b="T39"/>
                      <a:pathLst>
                        <a:path w="61" h="32">
                          <a:moveTo>
                            <a:pt x="0" y="31"/>
                          </a:moveTo>
                          <a:lnTo>
                            <a:pt x="4" y="27"/>
                          </a:lnTo>
                          <a:lnTo>
                            <a:pt x="8" y="23"/>
                          </a:lnTo>
                          <a:lnTo>
                            <a:pt x="12" y="20"/>
                          </a:lnTo>
                          <a:lnTo>
                            <a:pt x="19" y="19"/>
                          </a:lnTo>
                          <a:lnTo>
                            <a:pt x="25" y="18"/>
                          </a:lnTo>
                          <a:lnTo>
                            <a:pt x="32" y="16"/>
                          </a:lnTo>
                          <a:lnTo>
                            <a:pt x="39" y="14"/>
                          </a:lnTo>
                          <a:lnTo>
                            <a:pt x="46" y="12"/>
                          </a:lnTo>
                          <a:lnTo>
                            <a:pt x="52" y="8"/>
                          </a:lnTo>
                          <a:lnTo>
                            <a:pt x="57" y="5"/>
                          </a:lnTo>
                          <a:lnTo>
                            <a:pt x="60" y="0"/>
                          </a:lnTo>
                        </a:path>
                      </a:pathLst>
                    </a:custGeom>
                    <a:noFill/>
                    <a:ln w="25400" cap="rnd" cmpd="sng">
                      <a:solidFill>
                        <a:srgbClr val="990033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/>
                    <a:lstStyle/>
                    <a:p>
                      <a:endParaRPr lang="en-GB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23" name="Group 63"/>
                  <p:cNvGrpSpPr>
                    <a:grpSpLocks/>
                  </p:cNvGrpSpPr>
                  <p:nvPr/>
                </p:nvGrpSpPr>
                <p:grpSpPr bwMode="auto">
                  <a:xfrm>
                    <a:off x="3558" y="1923"/>
                    <a:ext cx="265" cy="544"/>
                    <a:chOff x="3558" y="1923"/>
                    <a:chExt cx="265" cy="544"/>
                  </a:xfrm>
                </p:grpSpPr>
                <p:grpSp>
                  <p:nvGrpSpPr>
                    <p:cNvPr id="24" name="Group 64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703" y="1923"/>
                      <a:ext cx="120" cy="169"/>
                      <a:chOff x="3703" y="1923"/>
                      <a:chExt cx="120" cy="169"/>
                    </a:xfrm>
                  </p:grpSpPr>
                  <p:sp>
                    <p:nvSpPr>
                      <p:cNvPr id="193" name="Freeform 6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757" y="1923"/>
                        <a:ext cx="66" cy="169"/>
                      </a:xfrm>
                      <a:custGeom>
                        <a:avLst/>
                        <a:gdLst>
                          <a:gd name="T0" fmla="*/ 6 w 66"/>
                          <a:gd name="T1" fmla="*/ 0 h 169"/>
                          <a:gd name="T2" fmla="*/ 3 w 66"/>
                          <a:gd name="T3" fmla="*/ 6 h 169"/>
                          <a:gd name="T4" fmla="*/ 1 w 66"/>
                          <a:gd name="T5" fmla="*/ 12 h 169"/>
                          <a:gd name="T6" fmla="*/ 1 w 66"/>
                          <a:gd name="T7" fmla="*/ 19 h 169"/>
                          <a:gd name="T8" fmla="*/ 0 w 66"/>
                          <a:gd name="T9" fmla="*/ 27 h 169"/>
                          <a:gd name="T10" fmla="*/ 1 w 66"/>
                          <a:gd name="T11" fmla="*/ 37 h 169"/>
                          <a:gd name="T12" fmla="*/ 1 w 66"/>
                          <a:gd name="T13" fmla="*/ 48 h 169"/>
                          <a:gd name="T14" fmla="*/ 3 w 66"/>
                          <a:gd name="T15" fmla="*/ 63 h 169"/>
                          <a:gd name="T16" fmla="*/ 5 w 66"/>
                          <a:gd name="T17" fmla="*/ 74 h 169"/>
                          <a:gd name="T18" fmla="*/ 8 w 66"/>
                          <a:gd name="T19" fmla="*/ 87 h 169"/>
                          <a:gd name="T20" fmla="*/ 11 w 66"/>
                          <a:gd name="T21" fmla="*/ 101 h 169"/>
                          <a:gd name="T22" fmla="*/ 15 w 66"/>
                          <a:gd name="T23" fmla="*/ 112 h 169"/>
                          <a:gd name="T24" fmla="*/ 21 w 66"/>
                          <a:gd name="T25" fmla="*/ 124 h 169"/>
                          <a:gd name="T26" fmla="*/ 28 w 66"/>
                          <a:gd name="T27" fmla="*/ 134 h 169"/>
                          <a:gd name="T28" fmla="*/ 37 w 66"/>
                          <a:gd name="T29" fmla="*/ 144 h 169"/>
                          <a:gd name="T30" fmla="*/ 47 w 66"/>
                          <a:gd name="T31" fmla="*/ 153 h 169"/>
                          <a:gd name="T32" fmla="*/ 56 w 66"/>
                          <a:gd name="T33" fmla="*/ 160 h 169"/>
                          <a:gd name="T34" fmla="*/ 65 w 66"/>
                          <a:gd name="T35" fmla="*/ 168 h 169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w 66"/>
                          <a:gd name="T55" fmla="*/ 0 h 169"/>
                          <a:gd name="T56" fmla="*/ 66 w 66"/>
                          <a:gd name="T57" fmla="*/ 169 h 169"/>
                        </a:gdLst>
                        <a:ahLst/>
                        <a:cxnLst>
                          <a:cxn ang="T36">
                            <a:pos x="T0" y="T1"/>
                          </a:cxn>
                          <a:cxn ang="T37">
                            <a:pos x="T2" y="T3"/>
                          </a:cxn>
                          <a:cxn ang="T38">
                            <a:pos x="T4" y="T5"/>
                          </a:cxn>
                          <a:cxn ang="T39">
                            <a:pos x="T6" y="T7"/>
                          </a:cxn>
                          <a:cxn ang="T40">
                            <a:pos x="T8" y="T9"/>
                          </a:cxn>
                          <a:cxn ang="T41">
                            <a:pos x="T10" y="T11"/>
                          </a:cxn>
                          <a:cxn ang="T42">
                            <a:pos x="T12" y="T13"/>
                          </a:cxn>
                          <a:cxn ang="T43">
                            <a:pos x="T14" y="T15"/>
                          </a:cxn>
                          <a:cxn ang="T44">
                            <a:pos x="T16" y="T17"/>
                          </a:cxn>
                          <a:cxn ang="T45">
                            <a:pos x="T18" y="T19"/>
                          </a:cxn>
                          <a:cxn ang="T46">
                            <a:pos x="T20" y="T21"/>
                          </a:cxn>
                          <a:cxn ang="T47">
                            <a:pos x="T22" y="T23"/>
                          </a:cxn>
                          <a:cxn ang="T48">
                            <a:pos x="T24" y="T25"/>
                          </a:cxn>
                          <a:cxn ang="T49">
                            <a:pos x="T26" y="T27"/>
                          </a:cxn>
                          <a:cxn ang="T50">
                            <a:pos x="T28" y="T29"/>
                          </a:cxn>
                          <a:cxn ang="T51">
                            <a:pos x="T30" y="T31"/>
                          </a:cxn>
                          <a:cxn ang="T52">
                            <a:pos x="T32" y="T33"/>
                          </a:cxn>
                          <a:cxn ang="T53">
                            <a:pos x="T34" y="T35"/>
                          </a:cxn>
                        </a:cxnLst>
                        <a:rect l="T54" t="T55" r="T56" b="T57"/>
                        <a:pathLst>
                          <a:path w="66" h="169">
                            <a:moveTo>
                              <a:pt x="6" y="0"/>
                            </a:moveTo>
                            <a:lnTo>
                              <a:pt x="3" y="6"/>
                            </a:lnTo>
                            <a:lnTo>
                              <a:pt x="1" y="12"/>
                            </a:lnTo>
                            <a:lnTo>
                              <a:pt x="1" y="19"/>
                            </a:lnTo>
                            <a:lnTo>
                              <a:pt x="0" y="27"/>
                            </a:lnTo>
                            <a:lnTo>
                              <a:pt x="1" y="37"/>
                            </a:lnTo>
                            <a:lnTo>
                              <a:pt x="1" y="48"/>
                            </a:lnTo>
                            <a:lnTo>
                              <a:pt x="3" y="63"/>
                            </a:lnTo>
                            <a:lnTo>
                              <a:pt x="5" y="74"/>
                            </a:lnTo>
                            <a:lnTo>
                              <a:pt x="8" y="87"/>
                            </a:lnTo>
                            <a:lnTo>
                              <a:pt x="11" y="101"/>
                            </a:lnTo>
                            <a:lnTo>
                              <a:pt x="15" y="112"/>
                            </a:lnTo>
                            <a:lnTo>
                              <a:pt x="21" y="124"/>
                            </a:lnTo>
                            <a:lnTo>
                              <a:pt x="28" y="134"/>
                            </a:lnTo>
                            <a:lnTo>
                              <a:pt x="37" y="144"/>
                            </a:lnTo>
                            <a:lnTo>
                              <a:pt x="47" y="153"/>
                            </a:lnTo>
                            <a:lnTo>
                              <a:pt x="56" y="160"/>
                            </a:lnTo>
                            <a:lnTo>
                              <a:pt x="65" y="168"/>
                            </a:lnTo>
                          </a:path>
                        </a:pathLst>
                      </a:custGeom>
                      <a:noFill/>
                      <a:ln w="50800" cap="rnd" cmpd="sng">
                        <a:solidFill>
                          <a:srgbClr val="990033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  <p:txBody>
                      <a:bodyPr/>
                      <a:lstStyle/>
                      <a:p>
                        <a:endParaRPr lang="en-GB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  <p:sp>
                    <p:nvSpPr>
                      <p:cNvPr id="194" name="Freeform 6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703" y="1975"/>
                        <a:ext cx="67" cy="73"/>
                      </a:xfrm>
                      <a:custGeom>
                        <a:avLst/>
                        <a:gdLst>
                          <a:gd name="T0" fmla="*/ 0 w 67"/>
                          <a:gd name="T1" fmla="*/ 0 h 73"/>
                          <a:gd name="T2" fmla="*/ 9 w 67"/>
                          <a:gd name="T3" fmla="*/ 2 h 73"/>
                          <a:gd name="T4" fmla="*/ 16 w 67"/>
                          <a:gd name="T5" fmla="*/ 5 h 73"/>
                          <a:gd name="T6" fmla="*/ 22 w 67"/>
                          <a:gd name="T7" fmla="*/ 9 h 73"/>
                          <a:gd name="T8" fmla="*/ 28 w 67"/>
                          <a:gd name="T9" fmla="*/ 14 h 73"/>
                          <a:gd name="T10" fmla="*/ 37 w 67"/>
                          <a:gd name="T11" fmla="*/ 22 h 73"/>
                          <a:gd name="T12" fmla="*/ 44 w 67"/>
                          <a:gd name="T13" fmla="*/ 31 h 73"/>
                          <a:gd name="T14" fmla="*/ 52 w 67"/>
                          <a:gd name="T15" fmla="*/ 44 h 73"/>
                          <a:gd name="T16" fmla="*/ 66 w 67"/>
                          <a:gd name="T17" fmla="*/ 67 h 73"/>
                          <a:gd name="T18" fmla="*/ 60 w 67"/>
                          <a:gd name="T19" fmla="*/ 70 h 73"/>
                          <a:gd name="T20" fmla="*/ 51 w 67"/>
                          <a:gd name="T21" fmla="*/ 71 h 73"/>
                          <a:gd name="T22" fmla="*/ 43 w 67"/>
                          <a:gd name="T23" fmla="*/ 72 h 73"/>
                          <a:gd name="T24" fmla="*/ 34 w 67"/>
                          <a:gd name="T25" fmla="*/ 70 h 73"/>
                          <a:gd name="T26" fmla="*/ 24 w 67"/>
                          <a:gd name="T27" fmla="*/ 67 h 73"/>
                          <a:gd name="T28" fmla="*/ 17 w 67"/>
                          <a:gd name="T29" fmla="*/ 65 h 73"/>
                          <a:gd name="T30" fmla="*/ 0 60000 65536"/>
                          <a:gd name="T31" fmla="*/ 0 60000 65536"/>
                          <a:gd name="T32" fmla="*/ 0 60000 65536"/>
                          <a:gd name="T33" fmla="*/ 0 60000 65536"/>
                          <a:gd name="T34" fmla="*/ 0 60000 65536"/>
                          <a:gd name="T35" fmla="*/ 0 60000 65536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w 67"/>
                          <a:gd name="T46" fmla="*/ 0 h 73"/>
                          <a:gd name="T47" fmla="*/ 67 w 67"/>
                          <a:gd name="T48" fmla="*/ 73 h 73"/>
                        </a:gdLst>
                        <a:ahLst/>
                        <a:cxnLst>
                          <a:cxn ang="T30">
                            <a:pos x="T0" y="T1"/>
                          </a:cxn>
                          <a:cxn ang="T31">
                            <a:pos x="T2" y="T3"/>
                          </a:cxn>
                          <a:cxn ang="T32">
                            <a:pos x="T4" y="T5"/>
                          </a:cxn>
                          <a:cxn ang="T33">
                            <a:pos x="T6" y="T7"/>
                          </a:cxn>
                          <a:cxn ang="T34">
                            <a:pos x="T8" y="T9"/>
                          </a:cxn>
                          <a:cxn ang="T35">
                            <a:pos x="T10" y="T11"/>
                          </a:cxn>
                          <a:cxn ang="T36">
                            <a:pos x="T12" y="T13"/>
                          </a:cxn>
                          <a:cxn ang="T37">
                            <a:pos x="T14" y="T15"/>
                          </a:cxn>
                          <a:cxn ang="T38">
                            <a:pos x="T16" y="T17"/>
                          </a:cxn>
                          <a:cxn ang="T39">
                            <a:pos x="T18" y="T19"/>
                          </a:cxn>
                          <a:cxn ang="T40">
                            <a:pos x="T20" y="T21"/>
                          </a:cxn>
                          <a:cxn ang="T41">
                            <a:pos x="T22" y="T23"/>
                          </a:cxn>
                          <a:cxn ang="T42">
                            <a:pos x="T24" y="T25"/>
                          </a:cxn>
                          <a:cxn ang="T43">
                            <a:pos x="T26" y="T27"/>
                          </a:cxn>
                          <a:cxn ang="T44">
                            <a:pos x="T28" y="T29"/>
                          </a:cxn>
                        </a:cxnLst>
                        <a:rect l="T45" t="T46" r="T47" b="T48"/>
                        <a:pathLst>
                          <a:path w="67" h="73">
                            <a:moveTo>
                              <a:pt x="0" y="0"/>
                            </a:moveTo>
                            <a:lnTo>
                              <a:pt x="9" y="2"/>
                            </a:lnTo>
                            <a:lnTo>
                              <a:pt x="16" y="5"/>
                            </a:lnTo>
                            <a:lnTo>
                              <a:pt x="22" y="9"/>
                            </a:lnTo>
                            <a:lnTo>
                              <a:pt x="28" y="14"/>
                            </a:lnTo>
                            <a:lnTo>
                              <a:pt x="37" y="22"/>
                            </a:lnTo>
                            <a:lnTo>
                              <a:pt x="44" y="31"/>
                            </a:lnTo>
                            <a:lnTo>
                              <a:pt x="52" y="44"/>
                            </a:lnTo>
                            <a:lnTo>
                              <a:pt x="66" y="67"/>
                            </a:lnTo>
                            <a:lnTo>
                              <a:pt x="60" y="70"/>
                            </a:lnTo>
                            <a:lnTo>
                              <a:pt x="51" y="71"/>
                            </a:lnTo>
                            <a:lnTo>
                              <a:pt x="43" y="72"/>
                            </a:lnTo>
                            <a:lnTo>
                              <a:pt x="34" y="70"/>
                            </a:lnTo>
                            <a:lnTo>
                              <a:pt x="24" y="67"/>
                            </a:lnTo>
                            <a:lnTo>
                              <a:pt x="17" y="65"/>
                            </a:lnTo>
                          </a:path>
                        </a:pathLst>
                      </a:custGeom>
                      <a:noFill/>
                      <a:ln w="25400" cap="rnd" cmpd="sng">
                        <a:solidFill>
                          <a:srgbClr val="990033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  <p:txBody>
                      <a:bodyPr/>
                      <a:lstStyle/>
                      <a:p>
                        <a:endParaRPr lang="en-GB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25" name="Group 67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558" y="2339"/>
                      <a:ext cx="165" cy="128"/>
                      <a:chOff x="3558" y="2339"/>
                      <a:chExt cx="165" cy="128"/>
                    </a:xfrm>
                  </p:grpSpPr>
                  <p:sp>
                    <p:nvSpPr>
                      <p:cNvPr id="187" name="Freeform 6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3626" y="2348"/>
                        <a:ext cx="48" cy="36"/>
                      </a:xfrm>
                      <a:custGeom>
                        <a:avLst/>
                        <a:gdLst>
                          <a:gd name="T0" fmla="*/ 0 w 48"/>
                          <a:gd name="T1" fmla="*/ 0 h 36"/>
                          <a:gd name="T2" fmla="*/ 11 w 48"/>
                          <a:gd name="T3" fmla="*/ 4 h 36"/>
                          <a:gd name="T4" fmla="*/ 20 w 48"/>
                          <a:gd name="T5" fmla="*/ 9 h 36"/>
                          <a:gd name="T6" fmla="*/ 29 w 48"/>
                          <a:gd name="T7" fmla="*/ 15 h 36"/>
                          <a:gd name="T8" fmla="*/ 38 w 48"/>
                          <a:gd name="T9" fmla="*/ 23 h 36"/>
                          <a:gd name="T10" fmla="*/ 47 w 48"/>
                          <a:gd name="T11" fmla="*/ 35 h 36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48"/>
                          <a:gd name="T19" fmla="*/ 0 h 36"/>
                          <a:gd name="T20" fmla="*/ 48 w 48"/>
                          <a:gd name="T21" fmla="*/ 36 h 36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48" h="36">
                            <a:moveTo>
                              <a:pt x="0" y="0"/>
                            </a:moveTo>
                            <a:lnTo>
                              <a:pt x="11" y="4"/>
                            </a:lnTo>
                            <a:lnTo>
                              <a:pt x="20" y="9"/>
                            </a:lnTo>
                            <a:lnTo>
                              <a:pt x="29" y="15"/>
                            </a:lnTo>
                            <a:lnTo>
                              <a:pt x="38" y="23"/>
                            </a:lnTo>
                            <a:lnTo>
                              <a:pt x="47" y="35"/>
                            </a:lnTo>
                          </a:path>
                        </a:pathLst>
                      </a:custGeom>
                      <a:noFill/>
                      <a:ln w="50800" cap="rnd" cmpd="sng">
                        <a:solidFill>
                          <a:srgbClr val="990033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  <p:txBody>
                      <a:bodyPr/>
                      <a:lstStyle/>
                      <a:p>
                        <a:endParaRPr lang="en-GB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  <p:grpSp>
                    <p:nvGrpSpPr>
                      <p:cNvPr id="26" name="Group 69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3558" y="2339"/>
                        <a:ext cx="165" cy="128"/>
                        <a:chOff x="3558" y="2339"/>
                        <a:chExt cx="165" cy="128"/>
                      </a:xfrm>
                    </p:grpSpPr>
                    <p:sp>
                      <p:nvSpPr>
                        <p:cNvPr id="189" name="Freeform 70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670" y="2339"/>
                          <a:ext cx="53" cy="18"/>
                        </a:xfrm>
                        <a:custGeom>
                          <a:avLst/>
                          <a:gdLst>
                            <a:gd name="T0" fmla="*/ 0 w 53"/>
                            <a:gd name="T1" fmla="*/ 0 h 18"/>
                            <a:gd name="T2" fmla="*/ 8 w 53"/>
                            <a:gd name="T3" fmla="*/ 7 h 18"/>
                            <a:gd name="T4" fmla="*/ 16 w 53"/>
                            <a:gd name="T5" fmla="*/ 11 h 18"/>
                            <a:gd name="T6" fmla="*/ 24 w 53"/>
                            <a:gd name="T7" fmla="*/ 15 h 18"/>
                            <a:gd name="T8" fmla="*/ 34 w 53"/>
                            <a:gd name="T9" fmla="*/ 17 h 18"/>
                            <a:gd name="T10" fmla="*/ 42 w 53"/>
                            <a:gd name="T11" fmla="*/ 17 h 18"/>
                            <a:gd name="T12" fmla="*/ 52 w 53"/>
                            <a:gd name="T13" fmla="*/ 16 h 18"/>
                            <a:gd name="T14" fmla="*/ 0 60000 65536"/>
                            <a:gd name="T15" fmla="*/ 0 60000 65536"/>
                            <a:gd name="T16" fmla="*/ 0 60000 65536"/>
                            <a:gd name="T17" fmla="*/ 0 60000 65536"/>
                            <a:gd name="T18" fmla="*/ 0 60000 65536"/>
                            <a:gd name="T19" fmla="*/ 0 60000 65536"/>
                            <a:gd name="T20" fmla="*/ 0 60000 65536"/>
                            <a:gd name="T21" fmla="*/ 0 w 53"/>
                            <a:gd name="T22" fmla="*/ 0 h 18"/>
                            <a:gd name="T23" fmla="*/ 53 w 53"/>
                            <a:gd name="T24" fmla="*/ 18 h 18"/>
                          </a:gdLst>
                          <a:ahLst/>
                          <a:cxnLst>
                            <a:cxn ang="T14">
                              <a:pos x="T0" y="T1"/>
                            </a:cxn>
                            <a:cxn ang="T15">
                              <a:pos x="T2" y="T3"/>
                            </a:cxn>
                            <a:cxn ang="T16">
                              <a:pos x="T4" y="T5"/>
                            </a:cxn>
                            <a:cxn ang="T17">
                              <a:pos x="T6" y="T7"/>
                            </a:cxn>
                            <a:cxn ang="T18">
                              <a:pos x="T8" y="T9"/>
                            </a:cxn>
                            <a:cxn ang="T19">
                              <a:pos x="T10" y="T11"/>
                            </a:cxn>
                            <a:cxn ang="T20">
                              <a:pos x="T12" y="T13"/>
                            </a:cxn>
                          </a:cxnLst>
                          <a:rect l="T21" t="T22" r="T23" b="T24"/>
                          <a:pathLst>
                            <a:path w="53" h="18">
                              <a:moveTo>
                                <a:pt x="0" y="0"/>
                              </a:moveTo>
                              <a:lnTo>
                                <a:pt x="8" y="7"/>
                              </a:lnTo>
                              <a:lnTo>
                                <a:pt x="16" y="11"/>
                              </a:lnTo>
                              <a:lnTo>
                                <a:pt x="24" y="15"/>
                              </a:lnTo>
                              <a:lnTo>
                                <a:pt x="34" y="17"/>
                              </a:lnTo>
                              <a:lnTo>
                                <a:pt x="42" y="17"/>
                              </a:lnTo>
                              <a:lnTo>
                                <a:pt x="52" y="16"/>
                              </a:lnTo>
                            </a:path>
                          </a:pathLst>
                        </a:custGeom>
                        <a:noFill/>
                        <a:ln w="25400" cap="rnd" cmpd="sng">
                          <a:solidFill>
                            <a:srgbClr val="990033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  <p:txBody>
                        <a:bodyPr/>
                        <a:lstStyle/>
                        <a:p>
                          <a:endParaRPr lang="en-GB">
                            <a:solidFill>
                              <a:prstClr val="black"/>
                            </a:solidFill>
                          </a:endParaRPr>
                        </a:p>
                      </p:txBody>
                    </p:sp>
                    <p:sp>
                      <p:nvSpPr>
                        <p:cNvPr id="190" name="Freeform 71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674" y="2389"/>
                          <a:ext cx="20" cy="47"/>
                        </a:xfrm>
                        <a:custGeom>
                          <a:avLst/>
                          <a:gdLst>
                            <a:gd name="T0" fmla="*/ 19 w 20"/>
                            <a:gd name="T1" fmla="*/ 0 h 47"/>
                            <a:gd name="T2" fmla="*/ 18 w 20"/>
                            <a:gd name="T3" fmla="*/ 12 h 47"/>
                            <a:gd name="T4" fmla="*/ 15 w 20"/>
                            <a:gd name="T5" fmla="*/ 22 h 47"/>
                            <a:gd name="T6" fmla="*/ 11 w 20"/>
                            <a:gd name="T7" fmla="*/ 32 h 47"/>
                            <a:gd name="T8" fmla="*/ 5 w 20"/>
                            <a:gd name="T9" fmla="*/ 41 h 47"/>
                            <a:gd name="T10" fmla="*/ 0 w 20"/>
                            <a:gd name="T11" fmla="*/ 46 h 47"/>
                            <a:gd name="T12" fmla="*/ 0 60000 65536"/>
                            <a:gd name="T13" fmla="*/ 0 60000 65536"/>
                            <a:gd name="T14" fmla="*/ 0 60000 65536"/>
                            <a:gd name="T15" fmla="*/ 0 60000 65536"/>
                            <a:gd name="T16" fmla="*/ 0 60000 65536"/>
                            <a:gd name="T17" fmla="*/ 0 60000 65536"/>
                            <a:gd name="T18" fmla="*/ 0 w 20"/>
                            <a:gd name="T19" fmla="*/ 0 h 47"/>
                            <a:gd name="T20" fmla="*/ 20 w 20"/>
                            <a:gd name="T21" fmla="*/ 47 h 47"/>
                          </a:gdLst>
                          <a:ahLst/>
                          <a:cxnLst>
                            <a:cxn ang="T12">
                              <a:pos x="T0" y="T1"/>
                            </a:cxn>
                            <a:cxn ang="T13">
                              <a:pos x="T2" y="T3"/>
                            </a:cxn>
                            <a:cxn ang="T14">
                              <a:pos x="T4" y="T5"/>
                            </a:cxn>
                            <a:cxn ang="T15">
                              <a:pos x="T6" y="T7"/>
                            </a:cxn>
                            <a:cxn ang="T16">
                              <a:pos x="T8" y="T9"/>
                            </a:cxn>
                            <a:cxn ang="T17">
                              <a:pos x="T10" y="T11"/>
                            </a:cxn>
                          </a:cxnLst>
                          <a:rect l="T18" t="T19" r="T20" b="T21"/>
                          <a:pathLst>
                            <a:path w="20" h="47">
                              <a:moveTo>
                                <a:pt x="19" y="0"/>
                              </a:moveTo>
                              <a:lnTo>
                                <a:pt x="18" y="12"/>
                              </a:lnTo>
                              <a:lnTo>
                                <a:pt x="15" y="22"/>
                              </a:lnTo>
                              <a:lnTo>
                                <a:pt x="11" y="32"/>
                              </a:lnTo>
                              <a:lnTo>
                                <a:pt x="5" y="41"/>
                              </a:lnTo>
                              <a:lnTo>
                                <a:pt x="0" y="46"/>
                              </a:lnTo>
                            </a:path>
                          </a:pathLst>
                        </a:custGeom>
                        <a:noFill/>
                        <a:ln w="25400" cap="rnd" cmpd="sng">
                          <a:solidFill>
                            <a:srgbClr val="990033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  <p:txBody>
                        <a:bodyPr/>
                        <a:lstStyle/>
                        <a:p>
                          <a:endParaRPr lang="en-GB">
                            <a:solidFill>
                              <a:prstClr val="black"/>
                            </a:solidFill>
                          </a:endParaRPr>
                        </a:p>
                      </p:txBody>
                    </p:sp>
                    <p:sp>
                      <p:nvSpPr>
                        <p:cNvPr id="191" name="Freeform 72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558" y="2413"/>
                          <a:ext cx="74" cy="17"/>
                        </a:xfrm>
                        <a:custGeom>
                          <a:avLst/>
                          <a:gdLst>
                            <a:gd name="T0" fmla="*/ 73 w 74"/>
                            <a:gd name="T1" fmla="*/ 1 h 17"/>
                            <a:gd name="T2" fmla="*/ 63 w 74"/>
                            <a:gd name="T3" fmla="*/ 7 h 17"/>
                            <a:gd name="T4" fmla="*/ 52 w 74"/>
                            <a:gd name="T5" fmla="*/ 13 h 17"/>
                            <a:gd name="T6" fmla="*/ 40 w 74"/>
                            <a:gd name="T7" fmla="*/ 16 h 17"/>
                            <a:gd name="T8" fmla="*/ 30 w 74"/>
                            <a:gd name="T9" fmla="*/ 14 h 17"/>
                            <a:gd name="T10" fmla="*/ 18 w 74"/>
                            <a:gd name="T11" fmla="*/ 10 h 17"/>
                            <a:gd name="T12" fmla="*/ 10 w 74"/>
                            <a:gd name="T13" fmla="*/ 7 h 17"/>
                            <a:gd name="T14" fmla="*/ 0 w 74"/>
                            <a:gd name="T15" fmla="*/ 0 h 17"/>
                            <a:gd name="T16" fmla="*/ 0 60000 65536"/>
                            <a:gd name="T17" fmla="*/ 0 60000 65536"/>
                            <a:gd name="T18" fmla="*/ 0 60000 65536"/>
                            <a:gd name="T19" fmla="*/ 0 60000 65536"/>
                            <a:gd name="T20" fmla="*/ 0 60000 65536"/>
                            <a:gd name="T21" fmla="*/ 0 60000 65536"/>
                            <a:gd name="T22" fmla="*/ 0 60000 65536"/>
                            <a:gd name="T23" fmla="*/ 0 60000 65536"/>
                            <a:gd name="T24" fmla="*/ 0 w 74"/>
                            <a:gd name="T25" fmla="*/ 0 h 17"/>
                            <a:gd name="T26" fmla="*/ 74 w 74"/>
                            <a:gd name="T27" fmla="*/ 17 h 17"/>
                          </a:gdLst>
                          <a:ahLst/>
                          <a:cxnLst>
                            <a:cxn ang="T16">
                              <a:pos x="T0" y="T1"/>
                            </a:cxn>
                            <a:cxn ang="T17">
                              <a:pos x="T2" y="T3"/>
                            </a:cxn>
                            <a:cxn ang="T18">
                              <a:pos x="T4" y="T5"/>
                            </a:cxn>
                            <a:cxn ang="T19">
                              <a:pos x="T6" y="T7"/>
                            </a:cxn>
                            <a:cxn ang="T20">
                              <a:pos x="T8" y="T9"/>
                            </a:cxn>
                            <a:cxn ang="T21">
                              <a:pos x="T10" y="T11"/>
                            </a:cxn>
                            <a:cxn ang="T22">
                              <a:pos x="T12" y="T13"/>
                            </a:cxn>
                            <a:cxn ang="T23">
                              <a:pos x="T14" y="T15"/>
                            </a:cxn>
                          </a:cxnLst>
                          <a:rect l="T24" t="T25" r="T26" b="T27"/>
                          <a:pathLst>
                            <a:path w="74" h="17">
                              <a:moveTo>
                                <a:pt x="73" y="1"/>
                              </a:moveTo>
                              <a:lnTo>
                                <a:pt x="63" y="7"/>
                              </a:lnTo>
                              <a:lnTo>
                                <a:pt x="52" y="13"/>
                              </a:lnTo>
                              <a:lnTo>
                                <a:pt x="40" y="16"/>
                              </a:lnTo>
                              <a:lnTo>
                                <a:pt x="30" y="14"/>
                              </a:lnTo>
                              <a:lnTo>
                                <a:pt x="18" y="10"/>
                              </a:lnTo>
                              <a:lnTo>
                                <a:pt x="10" y="7"/>
                              </a:lnTo>
                              <a:lnTo>
                                <a:pt x="0" y="0"/>
                              </a:lnTo>
                            </a:path>
                          </a:pathLst>
                        </a:custGeom>
                        <a:noFill/>
                        <a:ln w="25400" cap="rnd" cmpd="sng">
                          <a:solidFill>
                            <a:srgbClr val="990033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  <p:txBody>
                        <a:bodyPr/>
                        <a:lstStyle/>
                        <a:p>
                          <a:endParaRPr lang="en-GB">
                            <a:solidFill>
                              <a:prstClr val="black"/>
                            </a:solidFill>
                          </a:endParaRPr>
                        </a:p>
                      </p:txBody>
                    </p:sp>
                    <p:sp>
                      <p:nvSpPr>
                        <p:cNvPr id="192" name="Freeform 73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575" y="2421"/>
                          <a:ext cx="63" cy="46"/>
                        </a:xfrm>
                        <a:custGeom>
                          <a:avLst/>
                          <a:gdLst>
                            <a:gd name="T0" fmla="*/ 62 w 63"/>
                            <a:gd name="T1" fmla="*/ 0 h 46"/>
                            <a:gd name="T2" fmla="*/ 56 w 63"/>
                            <a:gd name="T3" fmla="*/ 8 h 46"/>
                            <a:gd name="T4" fmla="*/ 48 w 63"/>
                            <a:gd name="T5" fmla="*/ 15 h 46"/>
                            <a:gd name="T6" fmla="*/ 39 w 63"/>
                            <a:gd name="T7" fmla="*/ 24 h 46"/>
                            <a:gd name="T8" fmla="*/ 31 w 63"/>
                            <a:gd name="T9" fmla="*/ 32 h 46"/>
                            <a:gd name="T10" fmla="*/ 22 w 63"/>
                            <a:gd name="T11" fmla="*/ 37 h 46"/>
                            <a:gd name="T12" fmla="*/ 14 w 63"/>
                            <a:gd name="T13" fmla="*/ 41 h 46"/>
                            <a:gd name="T14" fmla="*/ 8 w 63"/>
                            <a:gd name="T15" fmla="*/ 43 h 46"/>
                            <a:gd name="T16" fmla="*/ 0 w 63"/>
                            <a:gd name="T17" fmla="*/ 45 h 46"/>
                            <a:gd name="T18" fmla="*/ 0 60000 65536"/>
                            <a:gd name="T19" fmla="*/ 0 60000 65536"/>
                            <a:gd name="T20" fmla="*/ 0 60000 65536"/>
                            <a:gd name="T21" fmla="*/ 0 60000 65536"/>
                            <a:gd name="T22" fmla="*/ 0 60000 65536"/>
                            <a:gd name="T23" fmla="*/ 0 60000 65536"/>
                            <a:gd name="T24" fmla="*/ 0 60000 65536"/>
                            <a:gd name="T25" fmla="*/ 0 60000 65536"/>
                            <a:gd name="T26" fmla="*/ 0 60000 65536"/>
                            <a:gd name="T27" fmla="*/ 0 w 63"/>
                            <a:gd name="T28" fmla="*/ 0 h 46"/>
                            <a:gd name="T29" fmla="*/ 63 w 63"/>
                            <a:gd name="T30" fmla="*/ 46 h 46"/>
                          </a:gdLst>
                          <a:ahLst/>
                          <a:cxnLst>
                            <a:cxn ang="T18">
                              <a:pos x="T0" y="T1"/>
                            </a:cxn>
                            <a:cxn ang="T19">
                              <a:pos x="T2" y="T3"/>
                            </a:cxn>
                            <a:cxn ang="T20">
                              <a:pos x="T4" y="T5"/>
                            </a:cxn>
                            <a:cxn ang="T21">
                              <a:pos x="T6" y="T7"/>
                            </a:cxn>
                            <a:cxn ang="T22">
                              <a:pos x="T8" y="T9"/>
                            </a:cxn>
                            <a:cxn ang="T23">
                              <a:pos x="T10" y="T11"/>
                            </a:cxn>
                            <a:cxn ang="T24">
                              <a:pos x="T12" y="T13"/>
                            </a:cxn>
                            <a:cxn ang="T25">
                              <a:pos x="T14" y="T15"/>
                            </a:cxn>
                            <a:cxn ang="T26">
                              <a:pos x="T16" y="T17"/>
                            </a:cxn>
                          </a:cxnLst>
                          <a:rect l="T27" t="T28" r="T29" b="T30"/>
                          <a:pathLst>
                            <a:path w="63" h="46">
                              <a:moveTo>
                                <a:pt x="62" y="0"/>
                              </a:moveTo>
                              <a:lnTo>
                                <a:pt x="56" y="8"/>
                              </a:lnTo>
                              <a:lnTo>
                                <a:pt x="48" y="15"/>
                              </a:lnTo>
                              <a:lnTo>
                                <a:pt x="39" y="24"/>
                              </a:lnTo>
                              <a:lnTo>
                                <a:pt x="31" y="32"/>
                              </a:lnTo>
                              <a:lnTo>
                                <a:pt x="22" y="37"/>
                              </a:lnTo>
                              <a:lnTo>
                                <a:pt x="14" y="41"/>
                              </a:lnTo>
                              <a:lnTo>
                                <a:pt x="8" y="43"/>
                              </a:lnTo>
                              <a:lnTo>
                                <a:pt x="0" y="45"/>
                              </a:lnTo>
                            </a:path>
                          </a:pathLst>
                        </a:custGeom>
                        <a:noFill/>
                        <a:ln w="25400" cap="rnd" cmpd="sng">
                          <a:solidFill>
                            <a:srgbClr val="990033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  <p:txBody>
                        <a:bodyPr/>
                        <a:lstStyle/>
                        <a:p>
                          <a:endParaRPr lang="en-GB">
                            <a:solidFill>
                              <a:prstClr val="black"/>
                            </a:solidFill>
                          </a:endParaRPr>
                        </a:p>
                      </p:txBody>
                    </p:sp>
                  </p:grpSp>
                </p:grpSp>
              </p:grpSp>
            </p:grpSp>
          </p:grpSp>
          <p:grpSp>
            <p:nvGrpSpPr>
              <p:cNvPr id="27" name="Group 74"/>
              <p:cNvGrpSpPr>
                <a:grpSpLocks/>
              </p:cNvGrpSpPr>
              <p:nvPr/>
            </p:nvGrpSpPr>
            <p:grpSpPr bwMode="auto">
              <a:xfrm>
                <a:off x="3855" y="1889"/>
                <a:ext cx="120" cy="172"/>
                <a:chOff x="3855" y="1889"/>
                <a:chExt cx="120" cy="172"/>
              </a:xfrm>
            </p:grpSpPr>
            <p:grpSp>
              <p:nvGrpSpPr>
                <p:cNvPr id="28" name="Group 75"/>
                <p:cNvGrpSpPr>
                  <a:grpSpLocks/>
                </p:cNvGrpSpPr>
                <p:nvPr/>
              </p:nvGrpSpPr>
              <p:grpSpPr bwMode="auto">
                <a:xfrm>
                  <a:off x="3893" y="1889"/>
                  <a:ext cx="22" cy="105"/>
                  <a:chOff x="3893" y="1889"/>
                  <a:chExt cx="22" cy="105"/>
                </a:xfrm>
              </p:grpSpPr>
              <p:sp>
                <p:nvSpPr>
                  <p:cNvPr id="176" name="Arc 76"/>
                  <p:cNvSpPr>
                    <a:spLocks/>
                  </p:cNvSpPr>
                  <p:nvPr/>
                </p:nvSpPr>
                <p:spPr bwMode="auto">
                  <a:xfrm>
                    <a:off x="3895" y="1889"/>
                    <a:ext cx="11" cy="4"/>
                  </a:xfrm>
                  <a:custGeom>
                    <a:avLst/>
                    <a:gdLst>
                      <a:gd name="T0" fmla="*/ 0 w 43200"/>
                      <a:gd name="T1" fmla="*/ 0 h 21600"/>
                      <a:gd name="T2" fmla="*/ 0 w 43200"/>
                      <a:gd name="T3" fmla="*/ 0 h 21600"/>
                      <a:gd name="T4" fmla="*/ 0 w 43200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43200"/>
                      <a:gd name="T10" fmla="*/ 0 h 21600"/>
                      <a:gd name="T11" fmla="*/ 43200 w 43200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43200" h="21600" fill="none" extrusionOk="0">
                        <a:moveTo>
                          <a:pt x="43200" y="0"/>
                        </a:moveTo>
                        <a:cubicBezTo>
                          <a:pt x="43200" y="11929"/>
                          <a:pt x="33529" y="21600"/>
                          <a:pt x="21600" y="21600"/>
                        </a:cubicBezTo>
                        <a:cubicBezTo>
                          <a:pt x="9670" y="21600"/>
                          <a:pt x="0" y="11929"/>
                          <a:pt x="0" y="0"/>
                        </a:cubicBezTo>
                      </a:path>
                      <a:path w="43200" h="21600" stroke="0" extrusionOk="0">
                        <a:moveTo>
                          <a:pt x="43200" y="0"/>
                        </a:moveTo>
                        <a:cubicBezTo>
                          <a:pt x="43200" y="11929"/>
                          <a:pt x="33529" y="21600"/>
                          <a:pt x="21600" y="21600"/>
                        </a:cubicBezTo>
                        <a:cubicBezTo>
                          <a:pt x="9670" y="21600"/>
                          <a:pt x="0" y="11929"/>
                          <a:pt x="0" y="0"/>
                        </a:cubicBezTo>
                        <a:lnTo>
                          <a:pt x="21600" y="0"/>
                        </a:lnTo>
                        <a:lnTo>
                          <a:pt x="43200" y="0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99003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anchor="ctr"/>
                  <a:lstStyle/>
                  <a:p>
                    <a:endParaRPr lang="en-GB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77" name="Arc 77"/>
                  <p:cNvSpPr>
                    <a:spLocks/>
                  </p:cNvSpPr>
                  <p:nvPr/>
                </p:nvSpPr>
                <p:spPr bwMode="auto">
                  <a:xfrm>
                    <a:off x="3895" y="1914"/>
                    <a:ext cx="12" cy="4"/>
                  </a:xfrm>
                  <a:custGeom>
                    <a:avLst/>
                    <a:gdLst>
                      <a:gd name="T0" fmla="*/ 0 w 43200"/>
                      <a:gd name="T1" fmla="*/ 0 h 21600"/>
                      <a:gd name="T2" fmla="*/ 0 w 43200"/>
                      <a:gd name="T3" fmla="*/ 0 h 21600"/>
                      <a:gd name="T4" fmla="*/ 0 w 43200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43200"/>
                      <a:gd name="T10" fmla="*/ 0 h 21600"/>
                      <a:gd name="T11" fmla="*/ 43200 w 43200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43200" h="21600" fill="none" extrusionOk="0">
                        <a:moveTo>
                          <a:pt x="43200" y="0"/>
                        </a:moveTo>
                        <a:cubicBezTo>
                          <a:pt x="43200" y="11929"/>
                          <a:pt x="33529" y="21600"/>
                          <a:pt x="21600" y="21600"/>
                        </a:cubicBezTo>
                        <a:cubicBezTo>
                          <a:pt x="9670" y="21600"/>
                          <a:pt x="0" y="11929"/>
                          <a:pt x="0" y="0"/>
                        </a:cubicBezTo>
                      </a:path>
                      <a:path w="43200" h="21600" stroke="0" extrusionOk="0">
                        <a:moveTo>
                          <a:pt x="43200" y="0"/>
                        </a:moveTo>
                        <a:cubicBezTo>
                          <a:pt x="43200" y="11929"/>
                          <a:pt x="33529" y="21600"/>
                          <a:pt x="21600" y="21600"/>
                        </a:cubicBezTo>
                        <a:cubicBezTo>
                          <a:pt x="9670" y="21600"/>
                          <a:pt x="0" y="11929"/>
                          <a:pt x="0" y="0"/>
                        </a:cubicBezTo>
                        <a:lnTo>
                          <a:pt x="21600" y="0"/>
                        </a:lnTo>
                        <a:lnTo>
                          <a:pt x="43200" y="0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99003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anchor="ctr"/>
                  <a:lstStyle/>
                  <a:p>
                    <a:endParaRPr lang="en-GB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78" name="Arc 78"/>
                  <p:cNvSpPr>
                    <a:spLocks/>
                  </p:cNvSpPr>
                  <p:nvPr/>
                </p:nvSpPr>
                <p:spPr bwMode="auto">
                  <a:xfrm>
                    <a:off x="3895" y="1938"/>
                    <a:ext cx="11" cy="4"/>
                  </a:xfrm>
                  <a:custGeom>
                    <a:avLst/>
                    <a:gdLst>
                      <a:gd name="T0" fmla="*/ 0 w 43200"/>
                      <a:gd name="T1" fmla="*/ 0 h 21600"/>
                      <a:gd name="T2" fmla="*/ 0 w 43200"/>
                      <a:gd name="T3" fmla="*/ 0 h 21600"/>
                      <a:gd name="T4" fmla="*/ 0 w 43200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43200"/>
                      <a:gd name="T10" fmla="*/ 0 h 21600"/>
                      <a:gd name="T11" fmla="*/ 43200 w 43200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43200" h="21600" fill="none" extrusionOk="0">
                        <a:moveTo>
                          <a:pt x="43200" y="0"/>
                        </a:moveTo>
                        <a:cubicBezTo>
                          <a:pt x="43200" y="11929"/>
                          <a:pt x="33529" y="21600"/>
                          <a:pt x="21600" y="21600"/>
                        </a:cubicBezTo>
                        <a:cubicBezTo>
                          <a:pt x="9670" y="21600"/>
                          <a:pt x="0" y="11929"/>
                          <a:pt x="0" y="0"/>
                        </a:cubicBezTo>
                      </a:path>
                      <a:path w="43200" h="21600" stroke="0" extrusionOk="0">
                        <a:moveTo>
                          <a:pt x="43200" y="0"/>
                        </a:moveTo>
                        <a:cubicBezTo>
                          <a:pt x="43200" y="11929"/>
                          <a:pt x="33529" y="21600"/>
                          <a:pt x="21600" y="21600"/>
                        </a:cubicBezTo>
                        <a:cubicBezTo>
                          <a:pt x="9670" y="21600"/>
                          <a:pt x="0" y="11929"/>
                          <a:pt x="0" y="0"/>
                        </a:cubicBezTo>
                        <a:lnTo>
                          <a:pt x="21600" y="0"/>
                        </a:lnTo>
                        <a:lnTo>
                          <a:pt x="43200" y="0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99003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anchor="ctr"/>
                  <a:lstStyle/>
                  <a:p>
                    <a:endParaRPr lang="en-GB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79" name="Arc 79"/>
                  <p:cNvSpPr>
                    <a:spLocks/>
                  </p:cNvSpPr>
                  <p:nvPr/>
                </p:nvSpPr>
                <p:spPr bwMode="auto">
                  <a:xfrm>
                    <a:off x="3895" y="1965"/>
                    <a:ext cx="11" cy="4"/>
                  </a:xfrm>
                  <a:custGeom>
                    <a:avLst/>
                    <a:gdLst>
                      <a:gd name="T0" fmla="*/ 0 w 43200"/>
                      <a:gd name="T1" fmla="*/ 0 h 21600"/>
                      <a:gd name="T2" fmla="*/ 0 w 43200"/>
                      <a:gd name="T3" fmla="*/ 0 h 21600"/>
                      <a:gd name="T4" fmla="*/ 0 w 43200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43200"/>
                      <a:gd name="T10" fmla="*/ 0 h 21600"/>
                      <a:gd name="T11" fmla="*/ 43200 w 43200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43200" h="21600" fill="none" extrusionOk="0">
                        <a:moveTo>
                          <a:pt x="43200" y="0"/>
                        </a:moveTo>
                        <a:cubicBezTo>
                          <a:pt x="43200" y="11929"/>
                          <a:pt x="33529" y="21600"/>
                          <a:pt x="21600" y="21600"/>
                        </a:cubicBezTo>
                        <a:cubicBezTo>
                          <a:pt x="9670" y="21600"/>
                          <a:pt x="0" y="11929"/>
                          <a:pt x="0" y="0"/>
                        </a:cubicBezTo>
                      </a:path>
                      <a:path w="43200" h="21600" stroke="0" extrusionOk="0">
                        <a:moveTo>
                          <a:pt x="43200" y="0"/>
                        </a:moveTo>
                        <a:cubicBezTo>
                          <a:pt x="43200" y="11929"/>
                          <a:pt x="33529" y="21600"/>
                          <a:pt x="21600" y="21600"/>
                        </a:cubicBezTo>
                        <a:cubicBezTo>
                          <a:pt x="9670" y="21600"/>
                          <a:pt x="0" y="11929"/>
                          <a:pt x="0" y="0"/>
                        </a:cubicBezTo>
                        <a:lnTo>
                          <a:pt x="21600" y="0"/>
                        </a:lnTo>
                        <a:lnTo>
                          <a:pt x="43200" y="0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99003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anchor="ctr"/>
                  <a:lstStyle/>
                  <a:p>
                    <a:endParaRPr lang="en-GB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80" name="Arc 80"/>
                  <p:cNvSpPr>
                    <a:spLocks/>
                  </p:cNvSpPr>
                  <p:nvPr/>
                </p:nvSpPr>
                <p:spPr bwMode="auto">
                  <a:xfrm>
                    <a:off x="3893" y="1990"/>
                    <a:ext cx="22" cy="4"/>
                  </a:xfrm>
                  <a:custGeom>
                    <a:avLst/>
                    <a:gdLst>
                      <a:gd name="T0" fmla="*/ 0 w 43200"/>
                      <a:gd name="T1" fmla="*/ 0 h 21600"/>
                      <a:gd name="T2" fmla="*/ 0 w 43200"/>
                      <a:gd name="T3" fmla="*/ 0 h 21600"/>
                      <a:gd name="T4" fmla="*/ 0 w 43200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43200"/>
                      <a:gd name="T10" fmla="*/ 0 h 21600"/>
                      <a:gd name="T11" fmla="*/ 43200 w 43200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43200" h="21600" fill="none" extrusionOk="0">
                        <a:moveTo>
                          <a:pt x="43200" y="0"/>
                        </a:moveTo>
                        <a:cubicBezTo>
                          <a:pt x="43200" y="11929"/>
                          <a:pt x="33529" y="21600"/>
                          <a:pt x="21600" y="21600"/>
                        </a:cubicBezTo>
                        <a:cubicBezTo>
                          <a:pt x="9670" y="21600"/>
                          <a:pt x="0" y="11929"/>
                          <a:pt x="0" y="0"/>
                        </a:cubicBezTo>
                      </a:path>
                      <a:path w="43200" h="21600" stroke="0" extrusionOk="0">
                        <a:moveTo>
                          <a:pt x="43200" y="0"/>
                        </a:moveTo>
                        <a:cubicBezTo>
                          <a:pt x="43200" y="11929"/>
                          <a:pt x="33529" y="21600"/>
                          <a:pt x="21600" y="21600"/>
                        </a:cubicBezTo>
                        <a:cubicBezTo>
                          <a:pt x="9670" y="21600"/>
                          <a:pt x="0" y="11929"/>
                          <a:pt x="0" y="0"/>
                        </a:cubicBezTo>
                        <a:lnTo>
                          <a:pt x="21600" y="0"/>
                        </a:lnTo>
                        <a:lnTo>
                          <a:pt x="43200" y="0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99003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anchor="ctr"/>
                  <a:lstStyle/>
                  <a:p>
                    <a:endParaRPr lang="en-GB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81" name="Group 81"/>
                <p:cNvGrpSpPr>
                  <a:grpSpLocks/>
                </p:cNvGrpSpPr>
                <p:nvPr/>
              </p:nvGrpSpPr>
              <p:grpSpPr bwMode="auto">
                <a:xfrm>
                  <a:off x="3855" y="2016"/>
                  <a:ext cx="34" cy="34"/>
                  <a:chOff x="3855" y="2016"/>
                  <a:chExt cx="34" cy="34"/>
                </a:xfrm>
              </p:grpSpPr>
              <p:sp>
                <p:nvSpPr>
                  <p:cNvPr id="172" name="Arc 82"/>
                  <p:cNvSpPr>
                    <a:spLocks/>
                  </p:cNvSpPr>
                  <p:nvPr/>
                </p:nvSpPr>
                <p:spPr bwMode="auto">
                  <a:xfrm>
                    <a:off x="3881" y="2016"/>
                    <a:ext cx="8" cy="18"/>
                  </a:xfrm>
                  <a:custGeom>
                    <a:avLst/>
                    <a:gdLst>
                      <a:gd name="T0" fmla="*/ 0 w 24367"/>
                      <a:gd name="T1" fmla="*/ 0 h 25039"/>
                      <a:gd name="T2" fmla="*/ 0 w 24367"/>
                      <a:gd name="T3" fmla="*/ 0 h 25039"/>
                      <a:gd name="T4" fmla="*/ 0 w 24367"/>
                      <a:gd name="T5" fmla="*/ 0 h 25039"/>
                      <a:gd name="T6" fmla="*/ 0 60000 65536"/>
                      <a:gd name="T7" fmla="*/ 0 60000 65536"/>
                      <a:gd name="T8" fmla="*/ 0 60000 65536"/>
                      <a:gd name="T9" fmla="*/ 0 w 24367"/>
                      <a:gd name="T10" fmla="*/ 0 h 25039"/>
                      <a:gd name="T11" fmla="*/ 24367 w 24367"/>
                      <a:gd name="T12" fmla="*/ 25039 h 25039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4367" h="25039" fill="none" extrusionOk="0">
                        <a:moveTo>
                          <a:pt x="-1" y="177"/>
                        </a:moveTo>
                        <a:cubicBezTo>
                          <a:pt x="917" y="59"/>
                          <a:pt x="1841" y="-1"/>
                          <a:pt x="2767" y="0"/>
                        </a:cubicBezTo>
                        <a:cubicBezTo>
                          <a:pt x="14696" y="0"/>
                          <a:pt x="24367" y="9670"/>
                          <a:pt x="24367" y="21600"/>
                        </a:cubicBezTo>
                        <a:cubicBezTo>
                          <a:pt x="24367" y="22751"/>
                          <a:pt x="24274" y="23901"/>
                          <a:pt x="24091" y="25039"/>
                        </a:cubicBezTo>
                      </a:path>
                      <a:path w="24367" h="25039" stroke="0" extrusionOk="0">
                        <a:moveTo>
                          <a:pt x="-1" y="177"/>
                        </a:moveTo>
                        <a:cubicBezTo>
                          <a:pt x="917" y="59"/>
                          <a:pt x="1841" y="-1"/>
                          <a:pt x="2767" y="0"/>
                        </a:cubicBezTo>
                        <a:cubicBezTo>
                          <a:pt x="14696" y="0"/>
                          <a:pt x="24367" y="9670"/>
                          <a:pt x="24367" y="21600"/>
                        </a:cubicBezTo>
                        <a:cubicBezTo>
                          <a:pt x="24367" y="22751"/>
                          <a:pt x="24274" y="23901"/>
                          <a:pt x="24091" y="25039"/>
                        </a:cubicBezTo>
                        <a:lnTo>
                          <a:pt x="2767" y="21600"/>
                        </a:lnTo>
                        <a:lnTo>
                          <a:pt x="-1" y="177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99003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anchor="ctr"/>
                  <a:lstStyle/>
                  <a:p>
                    <a:endParaRPr lang="en-GB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73" name="Arc 83"/>
                  <p:cNvSpPr>
                    <a:spLocks/>
                  </p:cNvSpPr>
                  <p:nvPr/>
                </p:nvSpPr>
                <p:spPr bwMode="auto">
                  <a:xfrm>
                    <a:off x="3873" y="2022"/>
                    <a:ext cx="7" cy="17"/>
                  </a:xfrm>
                  <a:custGeom>
                    <a:avLst/>
                    <a:gdLst>
                      <a:gd name="T0" fmla="*/ 0 w 21600"/>
                      <a:gd name="T1" fmla="*/ 0 h 23221"/>
                      <a:gd name="T2" fmla="*/ 0 w 21600"/>
                      <a:gd name="T3" fmla="*/ 0 h 23221"/>
                      <a:gd name="T4" fmla="*/ 0 w 21600"/>
                      <a:gd name="T5" fmla="*/ 0 h 23221"/>
                      <a:gd name="T6" fmla="*/ 0 60000 65536"/>
                      <a:gd name="T7" fmla="*/ 0 60000 65536"/>
                      <a:gd name="T8" fmla="*/ 0 60000 65536"/>
                      <a:gd name="T9" fmla="*/ 0 w 21600"/>
                      <a:gd name="T10" fmla="*/ 0 h 23221"/>
                      <a:gd name="T11" fmla="*/ 21600 w 21600"/>
                      <a:gd name="T12" fmla="*/ 23221 h 2322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1600" h="23221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cubicBezTo>
                          <a:pt x="21600" y="22140"/>
                          <a:pt x="21579" y="22681"/>
                          <a:pt x="21539" y="23221"/>
                        </a:cubicBezTo>
                      </a:path>
                      <a:path w="21600" h="23221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cubicBezTo>
                          <a:pt x="21600" y="22140"/>
                          <a:pt x="21579" y="22681"/>
                          <a:pt x="21539" y="23221"/>
                        </a:cubicBezTo>
                        <a:lnTo>
                          <a:pt x="0" y="21600"/>
                        </a:lnTo>
                        <a:lnTo>
                          <a:pt x="-1" y="0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99003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anchor="ctr"/>
                  <a:lstStyle/>
                  <a:p>
                    <a:endParaRPr lang="en-GB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74" name="Arc 84"/>
                  <p:cNvSpPr>
                    <a:spLocks/>
                  </p:cNvSpPr>
                  <p:nvPr/>
                </p:nvSpPr>
                <p:spPr bwMode="auto">
                  <a:xfrm>
                    <a:off x="3864" y="2028"/>
                    <a:ext cx="8" cy="17"/>
                  </a:xfrm>
                  <a:custGeom>
                    <a:avLst/>
                    <a:gdLst>
                      <a:gd name="T0" fmla="*/ 0 w 24367"/>
                      <a:gd name="T1" fmla="*/ 0 h 23336"/>
                      <a:gd name="T2" fmla="*/ 0 w 24367"/>
                      <a:gd name="T3" fmla="*/ 0 h 23336"/>
                      <a:gd name="T4" fmla="*/ 0 w 24367"/>
                      <a:gd name="T5" fmla="*/ 0 h 23336"/>
                      <a:gd name="T6" fmla="*/ 0 60000 65536"/>
                      <a:gd name="T7" fmla="*/ 0 60000 65536"/>
                      <a:gd name="T8" fmla="*/ 0 60000 65536"/>
                      <a:gd name="T9" fmla="*/ 0 w 24367"/>
                      <a:gd name="T10" fmla="*/ 0 h 23336"/>
                      <a:gd name="T11" fmla="*/ 24367 w 24367"/>
                      <a:gd name="T12" fmla="*/ 23336 h 233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4367" h="23336" fill="none" extrusionOk="0">
                        <a:moveTo>
                          <a:pt x="-1" y="177"/>
                        </a:moveTo>
                        <a:cubicBezTo>
                          <a:pt x="917" y="59"/>
                          <a:pt x="1841" y="-1"/>
                          <a:pt x="2767" y="0"/>
                        </a:cubicBezTo>
                        <a:cubicBezTo>
                          <a:pt x="14696" y="0"/>
                          <a:pt x="24367" y="9670"/>
                          <a:pt x="24367" y="21600"/>
                        </a:cubicBezTo>
                        <a:cubicBezTo>
                          <a:pt x="24367" y="22179"/>
                          <a:pt x="24343" y="22758"/>
                          <a:pt x="24297" y="23336"/>
                        </a:cubicBezTo>
                      </a:path>
                      <a:path w="24367" h="23336" stroke="0" extrusionOk="0">
                        <a:moveTo>
                          <a:pt x="-1" y="177"/>
                        </a:moveTo>
                        <a:cubicBezTo>
                          <a:pt x="917" y="59"/>
                          <a:pt x="1841" y="-1"/>
                          <a:pt x="2767" y="0"/>
                        </a:cubicBezTo>
                        <a:cubicBezTo>
                          <a:pt x="14696" y="0"/>
                          <a:pt x="24367" y="9670"/>
                          <a:pt x="24367" y="21600"/>
                        </a:cubicBezTo>
                        <a:cubicBezTo>
                          <a:pt x="24367" y="22179"/>
                          <a:pt x="24343" y="22758"/>
                          <a:pt x="24297" y="23336"/>
                        </a:cubicBezTo>
                        <a:lnTo>
                          <a:pt x="2767" y="21600"/>
                        </a:lnTo>
                        <a:lnTo>
                          <a:pt x="-1" y="177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99003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anchor="ctr"/>
                  <a:lstStyle/>
                  <a:p>
                    <a:endParaRPr lang="en-GB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75" name="Arc 85"/>
                  <p:cNvSpPr>
                    <a:spLocks/>
                  </p:cNvSpPr>
                  <p:nvPr/>
                </p:nvSpPr>
                <p:spPr bwMode="auto">
                  <a:xfrm>
                    <a:off x="3855" y="2033"/>
                    <a:ext cx="8" cy="17"/>
                  </a:xfrm>
                  <a:custGeom>
                    <a:avLst/>
                    <a:gdLst>
                      <a:gd name="T0" fmla="*/ 0 w 24455"/>
                      <a:gd name="T1" fmla="*/ 0 h 25151"/>
                      <a:gd name="T2" fmla="*/ 0 w 24455"/>
                      <a:gd name="T3" fmla="*/ 0 h 25151"/>
                      <a:gd name="T4" fmla="*/ 0 w 24455"/>
                      <a:gd name="T5" fmla="*/ 0 h 25151"/>
                      <a:gd name="T6" fmla="*/ 0 60000 65536"/>
                      <a:gd name="T7" fmla="*/ 0 60000 65536"/>
                      <a:gd name="T8" fmla="*/ 0 60000 65536"/>
                      <a:gd name="T9" fmla="*/ 0 w 24455"/>
                      <a:gd name="T10" fmla="*/ 0 h 25151"/>
                      <a:gd name="T11" fmla="*/ 24455 w 24455"/>
                      <a:gd name="T12" fmla="*/ 25151 h 25151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4455" h="25151" fill="none" extrusionOk="0">
                        <a:moveTo>
                          <a:pt x="0" y="189"/>
                        </a:moveTo>
                        <a:cubicBezTo>
                          <a:pt x="946" y="63"/>
                          <a:pt x="1900" y="-1"/>
                          <a:pt x="2855" y="0"/>
                        </a:cubicBezTo>
                        <a:cubicBezTo>
                          <a:pt x="14784" y="0"/>
                          <a:pt x="24455" y="9670"/>
                          <a:pt x="24455" y="21600"/>
                        </a:cubicBezTo>
                        <a:cubicBezTo>
                          <a:pt x="24455" y="22789"/>
                          <a:pt x="24356" y="23977"/>
                          <a:pt x="24161" y="25151"/>
                        </a:cubicBezTo>
                      </a:path>
                      <a:path w="24455" h="25151" stroke="0" extrusionOk="0">
                        <a:moveTo>
                          <a:pt x="0" y="189"/>
                        </a:moveTo>
                        <a:cubicBezTo>
                          <a:pt x="946" y="63"/>
                          <a:pt x="1900" y="-1"/>
                          <a:pt x="2855" y="0"/>
                        </a:cubicBezTo>
                        <a:cubicBezTo>
                          <a:pt x="14784" y="0"/>
                          <a:pt x="24455" y="9670"/>
                          <a:pt x="24455" y="21600"/>
                        </a:cubicBezTo>
                        <a:cubicBezTo>
                          <a:pt x="24455" y="22789"/>
                          <a:pt x="24356" y="23977"/>
                          <a:pt x="24161" y="25151"/>
                        </a:cubicBezTo>
                        <a:lnTo>
                          <a:pt x="2855" y="21600"/>
                        </a:lnTo>
                        <a:lnTo>
                          <a:pt x="0" y="189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99003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anchor="ctr"/>
                  <a:lstStyle/>
                  <a:p>
                    <a:endParaRPr lang="en-GB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82" name="Group 86"/>
                <p:cNvGrpSpPr>
                  <a:grpSpLocks/>
                </p:cNvGrpSpPr>
                <p:nvPr/>
              </p:nvGrpSpPr>
              <p:grpSpPr bwMode="auto">
                <a:xfrm>
                  <a:off x="3917" y="2017"/>
                  <a:ext cx="58" cy="44"/>
                  <a:chOff x="3917" y="2017"/>
                  <a:chExt cx="58" cy="44"/>
                </a:xfrm>
              </p:grpSpPr>
              <p:sp>
                <p:nvSpPr>
                  <p:cNvPr id="168" name="Arc 87"/>
                  <p:cNvSpPr>
                    <a:spLocks/>
                  </p:cNvSpPr>
                  <p:nvPr/>
                </p:nvSpPr>
                <p:spPr bwMode="auto">
                  <a:xfrm>
                    <a:off x="3917" y="2017"/>
                    <a:ext cx="12" cy="9"/>
                  </a:xfrm>
                  <a:custGeom>
                    <a:avLst/>
                    <a:gdLst>
                      <a:gd name="T0" fmla="*/ 0 w 37259"/>
                      <a:gd name="T1" fmla="*/ 0 h 21600"/>
                      <a:gd name="T2" fmla="*/ 0 w 37259"/>
                      <a:gd name="T3" fmla="*/ 0 h 21600"/>
                      <a:gd name="T4" fmla="*/ 0 w 37259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37259"/>
                      <a:gd name="T10" fmla="*/ 0 h 21600"/>
                      <a:gd name="T11" fmla="*/ 37259 w 37259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7259" h="21600" fill="none" extrusionOk="0">
                        <a:moveTo>
                          <a:pt x="0" y="19215"/>
                        </a:moveTo>
                        <a:cubicBezTo>
                          <a:pt x="1215" y="8275"/>
                          <a:pt x="10461" y="-1"/>
                          <a:pt x="21468" y="0"/>
                        </a:cubicBezTo>
                        <a:cubicBezTo>
                          <a:pt x="27455" y="0"/>
                          <a:pt x="33173" y="2485"/>
                          <a:pt x="37258" y="6862"/>
                        </a:cubicBezTo>
                      </a:path>
                      <a:path w="37259" h="21600" stroke="0" extrusionOk="0">
                        <a:moveTo>
                          <a:pt x="0" y="19215"/>
                        </a:moveTo>
                        <a:cubicBezTo>
                          <a:pt x="1215" y="8275"/>
                          <a:pt x="10461" y="-1"/>
                          <a:pt x="21468" y="0"/>
                        </a:cubicBezTo>
                        <a:cubicBezTo>
                          <a:pt x="27455" y="0"/>
                          <a:pt x="33173" y="2485"/>
                          <a:pt x="37258" y="6862"/>
                        </a:cubicBezTo>
                        <a:lnTo>
                          <a:pt x="21468" y="21600"/>
                        </a:lnTo>
                        <a:lnTo>
                          <a:pt x="0" y="19215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99003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anchor="ctr"/>
                  <a:lstStyle/>
                  <a:p>
                    <a:endParaRPr lang="en-GB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9" name="Arc 88"/>
                  <p:cNvSpPr>
                    <a:spLocks/>
                  </p:cNvSpPr>
                  <p:nvPr/>
                </p:nvSpPr>
                <p:spPr bwMode="auto">
                  <a:xfrm>
                    <a:off x="3924" y="2028"/>
                    <a:ext cx="14" cy="8"/>
                  </a:xfrm>
                  <a:custGeom>
                    <a:avLst/>
                    <a:gdLst>
                      <a:gd name="T0" fmla="*/ 0 w 32734"/>
                      <a:gd name="T1" fmla="*/ 0 h 21600"/>
                      <a:gd name="T2" fmla="*/ 0 w 32734"/>
                      <a:gd name="T3" fmla="*/ 0 h 21600"/>
                      <a:gd name="T4" fmla="*/ 0 w 32734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32734"/>
                      <a:gd name="T10" fmla="*/ 0 h 21600"/>
                      <a:gd name="T11" fmla="*/ 32734 w 32734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2734" h="21600" fill="none" extrusionOk="0">
                        <a:moveTo>
                          <a:pt x="0" y="21600"/>
                        </a:move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523" y="0"/>
                          <a:pt x="29371" y="1068"/>
                          <a:pt x="32733" y="3090"/>
                        </a:cubicBezTo>
                      </a:path>
                      <a:path w="32734" h="21600" stroke="0" extrusionOk="0">
                        <a:moveTo>
                          <a:pt x="0" y="21600"/>
                        </a:moveTo>
                        <a:cubicBezTo>
                          <a:pt x="0" y="9670"/>
                          <a:pt x="9670" y="0"/>
                          <a:pt x="21600" y="0"/>
                        </a:cubicBezTo>
                        <a:cubicBezTo>
                          <a:pt x="25523" y="0"/>
                          <a:pt x="29371" y="1068"/>
                          <a:pt x="32733" y="3090"/>
                        </a:cubicBezTo>
                        <a:lnTo>
                          <a:pt x="21600" y="21600"/>
                        </a:ln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99003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anchor="ctr"/>
                  <a:lstStyle/>
                  <a:p>
                    <a:endParaRPr lang="en-GB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70" name="Arc 89"/>
                  <p:cNvSpPr>
                    <a:spLocks/>
                  </p:cNvSpPr>
                  <p:nvPr/>
                </p:nvSpPr>
                <p:spPr bwMode="auto">
                  <a:xfrm>
                    <a:off x="3936" y="2037"/>
                    <a:ext cx="18" cy="14"/>
                  </a:xfrm>
                  <a:custGeom>
                    <a:avLst/>
                    <a:gdLst>
                      <a:gd name="T0" fmla="*/ 0 w 29137"/>
                      <a:gd name="T1" fmla="*/ 0 h 21600"/>
                      <a:gd name="T2" fmla="*/ 0 w 29137"/>
                      <a:gd name="T3" fmla="*/ 0 h 21600"/>
                      <a:gd name="T4" fmla="*/ 0 w 29137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29137"/>
                      <a:gd name="T10" fmla="*/ 0 h 21600"/>
                      <a:gd name="T11" fmla="*/ 29137 w 29137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9137" h="21600" fill="none" extrusionOk="0">
                        <a:moveTo>
                          <a:pt x="0" y="18545"/>
                        </a:moveTo>
                        <a:cubicBezTo>
                          <a:pt x="1520" y="7903"/>
                          <a:pt x="10633" y="-1"/>
                          <a:pt x="21383" y="0"/>
                        </a:cubicBezTo>
                        <a:cubicBezTo>
                          <a:pt x="24034" y="0"/>
                          <a:pt x="26662" y="488"/>
                          <a:pt x="29137" y="1439"/>
                        </a:cubicBezTo>
                      </a:path>
                      <a:path w="29137" h="21600" stroke="0" extrusionOk="0">
                        <a:moveTo>
                          <a:pt x="0" y="18545"/>
                        </a:moveTo>
                        <a:cubicBezTo>
                          <a:pt x="1520" y="7903"/>
                          <a:pt x="10633" y="-1"/>
                          <a:pt x="21383" y="0"/>
                        </a:cubicBezTo>
                        <a:cubicBezTo>
                          <a:pt x="24034" y="0"/>
                          <a:pt x="26662" y="488"/>
                          <a:pt x="29137" y="1439"/>
                        </a:cubicBezTo>
                        <a:lnTo>
                          <a:pt x="21383" y="21600"/>
                        </a:lnTo>
                        <a:lnTo>
                          <a:pt x="0" y="18545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99003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anchor="ctr"/>
                  <a:lstStyle/>
                  <a:p>
                    <a:endParaRPr lang="en-GB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71" name="Arc 90"/>
                  <p:cNvSpPr>
                    <a:spLocks/>
                  </p:cNvSpPr>
                  <p:nvPr/>
                </p:nvSpPr>
                <p:spPr bwMode="auto">
                  <a:xfrm>
                    <a:off x="3950" y="2043"/>
                    <a:ext cx="25" cy="18"/>
                  </a:xfrm>
                  <a:custGeom>
                    <a:avLst/>
                    <a:gdLst>
                      <a:gd name="T0" fmla="*/ 0 w 29530"/>
                      <a:gd name="T1" fmla="*/ 0 h 21600"/>
                      <a:gd name="T2" fmla="*/ 0 w 29530"/>
                      <a:gd name="T3" fmla="*/ 0 h 21600"/>
                      <a:gd name="T4" fmla="*/ 0 w 29530"/>
                      <a:gd name="T5" fmla="*/ 0 h 21600"/>
                      <a:gd name="T6" fmla="*/ 0 60000 65536"/>
                      <a:gd name="T7" fmla="*/ 0 60000 65536"/>
                      <a:gd name="T8" fmla="*/ 0 60000 65536"/>
                      <a:gd name="T9" fmla="*/ 0 w 29530"/>
                      <a:gd name="T10" fmla="*/ 0 h 21600"/>
                      <a:gd name="T11" fmla="*/ 29530 w 29530"/>
                      <a:gd name="T12" fmla="*/ 21600 h 21600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29530" h="21600" fill="none" extrusionOk="0">
                        <a:moveTo>
                          <a:pt x="-1" y="18048"/>
                        </a:moveTo>
                        <a:cubicBezTo>
                          <a:pt x="1735" y="7633"/>
                          <a:pt x="10747" y="-1"/>
                          <a:pt x="21306" y="0"/>
                        </a:cubicBezTo>
                        <a:cubicBezTo>
                          <a:pt x="24127" y="0"/>
                          <a:pt x="26921" y="552"/>
                          <a:pt x="29530" y="1626"/>
                        </a:cubicBezTo>
                      </a:path>
                      <a:path w="29530" h="21600" stroke="0" extrusionOk="0">
                        <a:moveTo>
                          <a:pt x="-1" y="18048"/>
                        </a:moveTo>
                        <a:cubicBezTo>
                          <a:pt x="1735" y="7633"/>
                          <a:pt x="10747" y="-1"/>
                          <a:pt x="21306" y="0"/>
                        </a:cubicBezTo>
                        <a:cubicBezTo>
                          <a:pt x="24127" y="0"/>
                          <a:pt x="26921" y="552"/>
                          <a:pt x="29530" y="1626"/>
                        </a:cubicBezTo>
                        <a:lnTo>
                          <a:pt x="21306" y="21600"/>
                        </a:lnTo>
                        <a:lnTo>
                          <a:pt x="-1" y="18048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990033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wrap="none" anchor="ctr"/>
                  <a:lstStyle/>
                  <a:p>
                    <a:endParaRPr lang="en-GB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83" name="Group 91"/>
            <p:cNvGrpSpPr>
              <a:grpSpLocks/>
            </p:cNvGrpSpPr>
            <p:nvPr/>
          </p:nvGrpSpPr>
          <p:grpSpPr bwMode="auto">
            <a:xfrm>
              <a:off x="3125" y="1962"/>
              <a:ext cx="612" cy="555"/>
              <a:chOff x="3516" y="1962"/>
              <a:chExt cx="689" cy="555"/>
            </a:xfrm>
          </p:grpSpPr>
          <p:grpSp>
            <p:nvGrpSpPr>
              <p:cNvPr id="109" name="Group 92"/>
              <p:cNvGrpSpPr>
                <a:grpSpLocks/>
              </p:cNvGrpSpPr>
              <p:nvPr/>
            </p:nvGrpSpPr>
            <p:grpSpPr bwMode="auto">
              <a:xfrm>
                <a:off x="3945" y="1962"/>
                <a:ext cx="260" cy="384"/>
                <a:chOff x="3945" y="1962"/>
                <a:chExt cx="260" cy="384"/>
              </a:xfrm>
            </p:grpSpPr>
            <p:grpSp>
              <p:nvGrpSpPr>
                <p:cNvPr id="163" name="Group 93"/>
                <p:cNvGrpSpPr>
                  <a:grpSpLocks/>
                </p:cNvGrpSpPr>
                <p:nvPr/>
              </p:nvGrpSpPr>
              <p:grpSpPr bwMode="auto">
                <a:xfrm>
                  <a:off x="4124" y="1962"/>
                  <a:ext cx="81" cy="119"/>
                  <a:chOff x="4124" y="1962"/>
                  <a:chExt cx="81" cy="119"/>
                </a:xfrm>
              </p:grpSpPr>
              <p:sp>
                <p:nvSpPr>
                  <p:cNvPr id="149" name="Oval 94"/>
                  <p:cNvSpPr>
                    <a:spLocks noChangeArrowheads="1"/>
                  </p:cNvSpPr>
                  <p:nvPr/>
                </p:nvSpPr>
                <p:spPr bwMode="auto">
                  <a:xfrm>
                    <a:off x="4150" y="1962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0" name="Oval 95"/>
                  <p:cNvSpPr>
                    <a:spLocks noChangeArrowheads="1"/>
                  </p:cNvSpPr>
                  <p:nvPr/>
                </p:nvSpPr>
                <p:spPr bwMode="auto">
                  <a:xfrm>
                    <a:off x="4155" y="1986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1" name="Oval 96"/>
                  <p:cNvSpPr>
                    <a:spLocks noChangeArrowheads="1"/>
                  </p:cNvSpPr>
                  <p:nvPr/>
                </p:nvSpPr>
                <p:spPr bwMode="auto">
                  <a:xfrm>
                    <a:off x="4126" y="1975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2" name="Oval 97"/>
                  <p:cNvSpPr>
                    <a:spLocks noChangeArrowheads="1"/>
                  </p:cNvSpPr>
                  <p:nvPr/>
                </p:nvSpPr>
                <p:spPr bwMode="auto">
                  <a:xfrm>
                    <a:off x="4124" y="2004"/>
                    <a:ext cx="5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3" name="Oval 98"/>
                  <p:cNvSpPr>
                    <a:spLocks noChangeArrowheads="1"/>
                  </p:cNvSpPr>
                  <p:nvPr/>
                </p:nvSpPr>
                <p:spPr bwMode="auto">
                  <a:xfrm>
                    <a:off x="4174" y="2015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4" name="Oval 99"/>
                  <p:cNvSpPr>
                    <a:spLocks noChangeArrowheads="1"/>
                  </p:cNvSpPr>
                  <p:nvPr/>
                </p:nvSpPr>
                <p:spPr bwMode="auto">
                  <a:xfrm>
                    <a:off x="4150" y="2015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5" name="Oval 100"/>
                  <p:cNvSpPr>
                    <a:spLocks noChangeArrowheads="1"/>
                  </p:cNvSpPr>
                  <p:nvPr/>
                </p:nvSpPr>
                <p:spPr bwMode="auto">
                  <a:xfrm>
                    <a:off x="4135" y="2014"/>
                    <a:ext cx="6" cy="8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6" name="Oval 101"/>
                  <p:cNvSpPr>
                    <a:spLocks noChangeArrowheads="1"/>
                  </p:cNvSpPr>
                  <p:nvPr/>
                </p:nvSpPr>
                <p:spPr bwMode="auto">
                  <a:xfrm>
                    <a:off x="4124" y="2025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7" name="Oval 102"/>
                  <p:cNvSpPr>
                    <a:spLocks noChangeArrowheads="1"/>
                  </p:cNvSpPr>
                  <p:nvPr/>
                </p:nvSpPr>
                <p:spPr bwMode="auto">
                  <a:xfrm>
                    <a:off x="4190" y="2039"/>
                    <a:ext cx="5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8" name="Oval 103"/>
                  <p:cNvSpPr>
                    <a:spLocks noChangeArrowheads="1"/>
                  </p:cNvSpPr>
                  <p:nvPr/>
                </p:nvSpPr>
                <p:spPr bwMode="auto">
                  <a:xfrm>
                    <a:off x="4160" y="2051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9" name="Oval 104"/>
                  <p:cNvSpPr>
                    <a:spLocks noChangeArrowheads="1"/>
                  </p:cNvSpPr>
                  <p:nvPr/>
                </p:nvSpPr>
                <p:spPr bwMode="auto">
                  <a:xfrm>
                    <a:off x="4174" y="2057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0" name="Oval 105"/>
                  <p:cNvSpPr>
                    <a:spLocks noChangeArrowheads="1"/>
                  </p:cNvSpPr>
                  <p:nvPr/>
                </p:nvSpPr>
                <p:spPr bwMode="auto">
                  <a:xfrm>
                    <a:off x="4132" y="2056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1" name="Oval 106"/>
                  <p:cNvSpPr>
                    <a:spLocks noChangeArrowheads="1"/>
                  </p:cNvSpPr>
                  <p:nvPr/>
                </p:nvSpPr>
                <p:spPr bwMode="auto">
                  <a:xfrm>
                    <a:off x="4198" y="2072"/>
                    <a:ext cx="7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62" name="Oval 107"/>
                  <p:cNvSpPr>
                    <a:spLocks noChangeArrowheads="1"/>
                  </p:cNvSpPr>
                  <p:nvPr/>
                </p:nvSpPr>
                <p:spPr bwMode="auto">
                  <a:xfrm>
                    <a:off x="4158" y="2075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64" name="Group 108"/>
                <p:cNvGrpSpPr>
                  <a:grpSpLocks/>
                </p:cNvGrpSpPr>
                <p:nvPr/>
              </p:nvGrpSpPr>
              <p:grpSpPr bwMode="auto">
                <a:xfrm>
                  <a:off x="3965" y="2065"/>
                  <a:ext cx="167" cy="150"/>
                  <a:chOff x="3965" y="2065"/>
                  <a:chExt cx="167" cy="150"/>
                </a:xfrm>
              </p:grpSpPr>
              <p:sp>
                <p:nvSpPr>
                  <p:cNvPr id="108" name="Oval 109"/>
                  <p:cNvSpPr>
                    <a:spLocks noChangeArrowheads="1"/>
                  </p:cNvSpPr>
                  <p:nvPr/>
                </p:nvSpPr>
                <p:spPr bwMode="auto">
                  <a:xfrm>
                    <a:off x="4013" y="2165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grpSp>
                <p:nvGrpSpPr>
                  <p:cNvPr id="165" name="Group 110"/>
                  <p:cNvGrpSpPr>
                    <a:grpSpLocks/>
                  </p:cNvGrpSpPr>
                  <p:nvPr/>
                </p:nvGrpSpPr>
                <p:grpSpPr bwMode="auto">
                  <a:xfrm>
                    <a:off x="3965" y="2065"/>
                    <a:ext cx="167" cy="150"/>
                    <a:chOff x="3965" y="2065"/>
                    <a:chExt cx="167" cy="150"/>
                  </a:xfrm>
                </p:grpSpPr>
                <p:sp>
                  <p:nvSpPr>
                    <p:cNvPr id="110" name="Oval 11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42" y="2065"/>
                      <a:ext cx="7" cy="6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11" name="Oval 11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78" y="2078"/>
                      <a:ext cx="4" cy="6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12" name="Oval 11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61" y="2072"/>
                      <a:ext cx="6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13" name="Oval 11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107" y="2105"/>
                      <a:ext cx="6" cy="6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14" name="Oval 11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89" y="2115"/>
                      <a:ext cx="5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15" name="Oval 11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37" y="2098"/>
                      <a:ext cx="5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16" name="Oval 11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26" y="2076"/>
                      <a:ext cx="7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17" name="Oval 11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08" y="2075"/>
                      <a:ext cx="6" cy="8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18" name="Oval 11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10" y="2093"/>
                      <a:ext cx="6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19" name="Oval 12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04" y="2115"/>
                      <a:ext cx="6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0" name="Oval 12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982" y="2089"/>
                      <a:ext cx="6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1" name="Oval 12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30" y="2128"/>
                      <a:ext cx="6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2" name="Oval 12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62" y="2094"/>
                      <a:ext cx="5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3" name="Oval 12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976" y="2116"/>
                      <a:ext cx="6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4" name="Oval 12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990" y="2128"/>
                      <a:ext cx="6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5" name="Oval 12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995" y="2143"/>
                      <a:ext cx="6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6" name="Oval 12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18" y="2139"/>
                      <a:ext cx="5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7" name="Oval 12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982" y="2157"/>
                      <a:ext cx="5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8" name="Oval 12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965" y="2173"/>
                      <a:ext cx="5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29" name="Oval 13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966" y="2195"/>
                      <a:ext cx="6" cy="6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0" name="Oval 13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990" y="2181"/>
                      <a:ext cx="5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1" name="Oval 13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18" y="2165"/>
                      <a:ext cx="5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2" name="Oval 13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06" y="2195"/>
                      <a:ext cx="6" cy="8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3" name="Oval 13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22" y="2179"/>
                      <a:ext cx="5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4" name="Oval 13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30" y="2190"/>
                      <a:ext cx="5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5" name="Oval 13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39" y="2161"/>
                      <a:ext cx="7" cy="6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6" name="Oval 13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42" y="2176"/>
                      <a:ext cx="6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7" name="Oval 13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58" y="2145"/>
                      <a:ext cx="7" cy="6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8" name="Oval 13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58" y="2162"/>
                      <a:ext cx="6" cy="6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39" name="Oval 14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58" y="2191"/>
                      <a:ext cx="7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0" name="Oval 141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73" y="2145"/>
                      <a:ext cx="5" cy="6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1" name="Oval 142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90" y="2133"/>
                      <a:ext cx="6" cy="6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2" name="Oval 143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105" y="2132"/>
                      <a:ext cx="5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3" name="Oval 144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126" y="2139"/>
                      <a:ext cx="6" cy="6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4" name="Oval 14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118" y="2151"/>
                      <a:ext cx="6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5" name="Oval 14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82" y="2152"/>
                      <a:ext cx="7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6" name="Oval 14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94" y="2167"/>
                      <a:ext cx="5" cy="7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7" name="Oval 14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70" y="2175"/>
                      <a:ext cx="6" cy="8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48" name="Oval 14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86" y="2207"/>
                      <a:ext cx="5" cy="8"/>
                    </a:xfrm>
                    <a:prstGeom prst="ellipse">
                      <a:avLst/>
                    </a:prstGeom>
                    <a:solidFill>
                      <a:srgbClr val="40000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12700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wrap="none" anchor="ctr"/>
                    <a:lstStyle>
                      <a:lvl1pPr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 eaLnBrk="0" hangingPunct="0"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algn="ctr" eaLnBrk="0" fontAlgn="base" hangingPunct="0">
                        <a:spcBef>
                          <a:spcPct val="50000"/>
                        </a:spcBef>
                        <a:spcAft>
                          <a:spcPct val="50000"/>
                        </a:spcAft>
                        <a:defRPr sz="2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eaLnBrk="1" hangingPunct="1"/>
                      <a:endParaRPr lang="en-US" altLang="en-US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  <p:grpSp>
              <p:nvGrpSpPr>
                <p:cNvPr id="166" name="Group 150"/>
                <p:cNvGrpSpPr>
                  <a:grpSpLocks/>
                </p:cNvGrpSpPr>
                <p:nvPr/>
              </p:nvGrpSpPr>
              <p:grpSpPr bwMode="auto">
                <a:xfrm>
                  <a:off x="3945" y="2227"/>
                  <a:ext cx="152" cy="119"/>
                  <a:chOff x="3945" y="2227"/>
                  <a:chExt cx="152" cy="119"/>
                </a:xfrm>
              </p:grpSpPr>
              <p:sp>
                <p:nvSpPr>
                  <p:cNvPr id="84" name="Oval 151"/>
                  <p:cNvSpPr>
                    <a:spLocks noChangeArrowheads="1"/>
                  </p:cNvSpPr>
                  <p:nvPr/>
                </p:nvSpPr>
                <p:spPr bwMode="auto">
                  <a:xfrm>
                    <a:off x="4028" y="2237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5" name="Oval 152"/>
                  <p:cNvSpPr>
                    <a:spLocks noChangeArrowheads="1"/>
                  </p:cNvSpPr>
                  <p:nvPr/>
                </p:nvSpPr>
                <p:spPr bwMode="auto">
                  <a:xfrm>
                    <a:off x="3961" y="2227"/>
                    <a:ext cx="5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6" name="Oval 153"/>
                  <p:cNvSpPr>
                    <a:spLocks noChangeArrowheads="1"/>
                  </p:cNvSpPr>
                  <p:nvPr/>
                </p:nvSpPr>
                <p:spPr bwMode="auto">
                  <a:xfrm>
                    <a:off x="4056" y="2257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7" name="Oval 154"/>
                  <p:cNvSpPr>
                    <a:spLocks noChangeArrowheads="1"/>
                  </p:cNvSpPr>
                  <p:nvPr/>
                </p:nvSpPr>
                <p:spPr bwMode="auto">
                  <a:xfrm>
                    <a:off x="4074" y="2249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8" name="Oval 155"/>
                  <p:cNvSpPr>
                    <a:spLocks noChangeArrowheads="1"/>
                  </p:cNvSpPr>
                  <p:nvPr/>
                </p:nvSpPr>
                <p:spPr bwMode="auto">
                  <a:xfrm>
                    <a:off x="4091" y="2280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9" name="Oval 156"/>
                  <p:cNvSpPr>
                    <a:spLocks noChangeArrowheads="1"/>
                  </p:cNvSpPr>
                  <p:nvPr/>
                </p:nvSpPr>
                <p:spPr bwMode="auto">
                  <a:xfrm>
                    <a:off x="4056" y="2275"/>
                    <a:ext cx="6" cy="8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0" name="Oval 157"/>
                  <p:cNvSpPr>
                    <a:spLocks noChangeArrowheads="1"/>
                  </p:cNvSpPr>
                  <p:nvPr/>
                </p:nvSpPr>
                <p:spPr bwMode="auto">
                  <a:xfrm>
                    <a:off x="4039" y="2287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1" name="Oval 158"/>
                  <p:cNvSpPr>
                    <a:spLocks noChangeArrowheads="1"/>
                  </p:cNvSpPr>
                  <p:nvPr/>
                </p:nvSpPr>
                <p:spPr bwMode="auto">
                  <a:xfrm>
                    <a:off x="4083" y="2295"/>
                    <a:ext cx="7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2" name="Oval 159"/>
                  <p:cNvSpPr>
                    <a:spLocks noChangeArrowheads="1"/>
                  </p:cNvSpPr>
                  <p:nvPr/>
                </p:nvSpPr>
                <p:spPr bwMode="auto">
                  <a:xfrm>
                    <a:off x="3984" y="2282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3" name="Oval 160"/>
                  <p:cNvSpPr>
                    <a:spLocks noChangeArrowheads="1"/>
                  </p:cNvSpPr>
                  <p:nvPr/>
                </p:nvSpPr>
                <p:spPr bwMode="auto">
                  <a:xfrm>
                    <a:off x="3961" y="2286"/>
                    <a:ext cx="5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4" name="Oval 161"/>
                  <p:cNvSpPr>
                    <a:spLocks noChangeArrowheads="1"/>
                  </p:cNvSpPr>
                  <p:nvPr/>
                </p:nvSpPr>
                <p:spPr bwMode="auto">
                  <a:xfrm>
                    <a:off x="3958" y="2271"/>
                    <a:ext cx="5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5" name="Oval 162"/>
                  <p:cNvSpPr>
                    <a:spLocks noChangeArrowheads="1"/>
                  </p:cNvSpPr>
                  <p:nvPr/>
                </p:nvSpPr>
                <p:spPr bwMode="auto">
                  <a:xfrm>
                    <a:off x="4006" y="2302"/>
                    <a:ext cx="5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6" name="Oval 163"/>
                  <p:cNvSpPr>
                    <a:spLocks noChangeArrowheads="1"/>
                  </p:cNvSpPr>
                  <p:nvPr/>
                </p:nvSpPr>
                <p:spPr bwMode="auto">
                  <a:xfrm>
                    <a:off x="4061" y="2310"/>
                    <a:ext cx="5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7" name="Oval 164"/>
                  <p:cNvSpPr>
                    <a:spLocks noChangeArrowheads="1"/>
                  </p:cNvSpPr>
                  <p:nvPr/>
                </p:nvSpPr>
                <p:spPr bwMode="auto">
                  <a:xfrm>
                    <a:off x="4025" y="2305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8" name="Oval 165"/>
                  <p:cNvSpPr>
                    <a:spLocks noChangeArrowheads="1"/>
                  </p:cNvSpPr>
                  <p:nvPr/>
                </p:nvSpPr>
                <p:spPr bwMode="auto">
                  <a:xfrm>
                    <a:off x="4037" y="2318"/>
                    <a:ext cx="5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99" name="Oval 166"/>
                  <p:cNvSpPr>
                    <a:spLocks noChangeArrowheads="1"/>
                  </p:cNvSpPr>
                  <p:nvPr/>
                </p:nvSpPr>
                <p:spPr bwMode="auto">
                  <a:xfrm>
                    <a:off x="3984" y="2308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0" name="Oval 167"/>
                  <p:cNvSpPr>
                    <a:spLocks noChangeArrowheads="1"/>
                  </p:cNvSpPr>
                  <p:nvPr/>
                </p:nvSpPr>
                <p:spPr bwMode="auto">
                  <a:xfrm>
                    <a:off x="3979" y="2307"/>
                    <a:ext cx="6" cy="8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1" name="Oval 168"/>
                  <p:cNvSpPr>
                    <a:spLocks noChangeArrowheads="1"/>
                  </p:cNvSpPr>
                  <p:nvPr/>
                </p:nvSpPr>
                <p:spPr bwMode="auto">
                  <a:xfrm>
                    <a:off x="4014" y="2337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2" name="Oval 169"/>
                  <p:cNvSpPr>
                    <a:spLocks noChangeArrowheads="1"/>
                  </p:cNvSpPr>
                  <p:nvPr/>
                </p:nvSpPr>
                <p:spPr bwMode="auto">
                  <a:xfrm>
                    <a:off x="3995" y="2333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3" name="Oval 170"/>
                  <p:cNvSpPr>
                    <a:spLocks noChangeArrowheads="1"/>
                  </p:cNvSpPr>
                  <p:nvPr/>
                </p:nvSpPr>
                <p:spPr bwMode="auto">
                  <a:xfrm>
                    <a:off x="3972" y="2339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4" name="Oval 171"/>
                  <p:cNvSpPr>
                    <a:spLocks noChangeArrowheads="1"/>
                  </p:cNvSpPr>
                  <p:nvPr/>
                </p:nvSpPr>
                <p:spPr bwMode="auto">
                  <a:xfrm>
                    <a:off x="3946" y="2248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5" name="Oval 172"/>
                  <p:cNvSpPr>
                    <a:spLocks noChangeArrowheads="1"/>
                  </p:cNvSpPr>
                  <p:nvPr/>
                </p:nvSpPr>
                <p:spPr bwMode="auto">
                  <a:xfrm>
                    <a:off x="3945" y="2274"/>
                    <a:ext cx="5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6" name="Oval 173"/>
                  <p:cNvSpPr>
                    <a:spLocks noChangeArrowheads="1"/>
                  </p:cNvSpPr>
                  <p:nvPr/>
                </p:nvSpPr>
                <p:spPr bwMode="auto">
                  <a:xfrm>
                    <a:off x="3948" y="2301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07" name="Oval 174"/>
                  <p:cNvSpPr>
                    <a:spLocks noChangeArrowheads="1"/>
                  </p:cNvSpPr>
                  <p:nvPr/>
                </p:nvSpPr>
                <p:spPr bwMode="auto">
                  <a:xfrm>
                    <a:off x="3956" y="2324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grpSp>
            <p:nvGrpSpPr>
              <p:cNvPr id="167" name="Group 175"/>
              <p:cNvGrpSpPr>
                <a:grpSpLocks/>
              </p:cNvGrpSpPr>
              <p:nvPr/>
            </p:nvGrpSpPr>
            <p:grpSpPr bwMode="auto">
              <a:xfrm>
                <a:off x="3516" y="1983"/>
                <a:ext cx="292" cy="534"/>
                <a:chOff x="3516" y="1983"/>
                <a:chExt cx="292" cy="534"/>
              </a:xfrm>
            </p:grpSpPr>
            <p:grpSp>
              <p:nvGrpSpPr>
                <p:cNvPr id="181" name="Group 176"/>
                <p:cNvGrpSpPr>
                  <a:grpSpLocks/>
                </p:cNvGrpSpPr>
                <p:nvPr/>
              </p:nvGrpSpPr>
              <p:grpSpPr bwMode="auto">
                <a:xfrm>
                  <a:off x="3735" y="2106"/>
                  <a:ext cx="73" cy="129"/>
                  <a:chOff x="3735" y="2106"/>
                  <a:chExt cx="73" cy="129"/>
                </a:xfrm>
              </p:grpSpPr>
              <p:sp>
                <p:nvSpPr>
                  <p:cNvPr id="68" name="Oval 177"/>
                  <p:cNvSpPr>
                    <a:spLocks noChangeArrowheads="1"/>
                  </p:cNvSpPr>
                  <p:nvPr/>
                </p:nvSpPr>
                <p:spPr bwMode="auto">
                  <a:xfrm>
                    <a:off x="3802" y="2123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9" name="Oval 178"/>
                  <p:cNvSpPr>
                    <a:spLocks noChangeArrowheads="1"/>
                  </p:cNvSpPr>
                  <p:nvPr/>
                </p:nvSpPr>
                <p:spPr bwMode="auto">
                  <a:xfrm>
                    <a:off x="3798" y="2106"/>
                    <a:ext cx="5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0" name="Oval 179"/>
                  <p:cNvSpPr>
                    <a:spLocks noChangeArrowheads="1"/>
                  </p:cNvSpPr>
                  <p:nvPr/>
                </p:nvSpPr>
                <p:spPr bwMode="auto">
                  <a:xfrm>
                    <a:off x="3760" y="2110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1" name="Oval 180"/>
                  <p:cNvSpPr>
                    <a:spLocks noChangeArrowheads="1"/>
                  </p:cNvSpPr>
                  <p:nvPr/>
                </p:nvSpPr>
                <p:spPr bwMode="auto">
                  <a:xfrm>
                    <a:off x="3736" y="2122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2" name="Oval 181"/>
                  <p:cNvSpPr>
                    <a:spLocks noChangeArrowheads="1"/>
                  </p:cNvSpPr>
                  <p:nvPr/>
                </p:nvSpPr>
                <p:spPr bwMode="auto">
                  <a:xfrm>
                    <a:off x="3765" y="2131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3" name="Oval 182"/>
                  <p:cNvSpPr>
                    <a:spLocks noChangeArrowheads="1"/>
                  </p:cNvSpPr>
                  <p:nvPr/>
                </p:nvSpPr>
                <p:spPr bwMode="auto">
                  <a:xfrm>
                    <a:off x="3784" y="2162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4" name="Oval 183"/>
                  <p:cNvSpPr>
                    <a:spLocks noChangeArrowheads="1"/>
                  </p:cNvSpPr>
                  <p:nvPr/>
                </p:nvSpPr>
                <p:spPr bwMode="auto">
                  <a:xfrm>
                    <a:off x="3760" y="2160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5" name="Oval 184"/>
                  <p:cNvSpPr>
                    <a:spLocks noChangeArrowheads="1"/>
                  </p:cNvSpPr>
                  <p:nvPr/>
                </p:nvSpPr>
                <p:spPr bwMode="auto">
                  <a:xfrm>
                    <a:off x="3763" y="2175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6" name="Oval 185"/>
                  <p:cNvSpPr>
                    <a:spLocks noChangeArrowheads="1"/>
                  </p:cNvSpPr>
                  <p:nvPr/>
                </p:nvSpPr>
                <p:spPr bwMode="auto">
                  <a:xfrm>
                    <a:off x="3735" y="2171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7" name="Oval 186"/>
                  <p:cNvSpPr>
                    <a:spLocks noChangeArrowheads="1"/>
                  </p:cNvSpPr>
                  <p:nvPr/>
                </p:nvSpPr>
                <p:spPr bwMode="auto">
                  <a:xfrm>
                    <a:off x="3770" y="2197"/>
                    <a:ext cx="5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8" name="Oval 187"/>
                  <p:cNvSpPr>
                    <a:spLocks noChangeArrowheads="1"/>
                  </p:cNvSpPr>
                  <p:nvPr/>
                </p:nvSpPr>
                <p:spPr bwMode="auto">
                  <a:xfrm>
                    <a:off x="3735" y="2190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79" name="Oval 188"/>
                  <p:cNvSpPr>
                    <a:spLocks noChangeArrowheads="1"/>
                  </p:cNvSpPr>
                  <p:nvPr/>
                </p:nvSpPr>
                <p:spPr bwMode="auto">
                  <a:xfrm>
                    <a:off x="3744" y="2213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80" name="Oval 189"/>
                  <p:cNvSpPr>
                    <a:spLocks noChangeArrowheads="1"/>
                  </p:cNvSpPr>
                  <p:nvPr/>
                </p:nvSpPr>
                <p:spPr bwMode="auto">
                  <a:xfrm>
                    <a:off x="3759" y="2228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82" name="Group 190"/>
                <p:cNvGrpSpPr>
                  <a:grpSpLocks/>
                </p:cNvGrpSpPr>
                <p:nvPr/>
              </p:nvGrpSpPr>
              <p:grpSpPr bwMode="auto">
                <a:xfrm>
                  <a:off x="3616" y="1983"/>
                  <a:ext cx="52" cy="60"/>
                  <a:chOff x="3616" y="1983"/>
                  <a:chExt cx="52" cy="60"/>
                </a:xfrm>
              </p:grpSpPr>
              <p:sp>
                <p:nvSpPr>
                  <p:cNvPr id="59" name="Oval 191"/>
                  <p:cNvSpPr>
                    <a:spLocks noChangeArrowheads="1"/>
                  </p:cNvSpPr>
                  <p:nvPr/>
                </p:nvSpPr>
                <p:spPr bwMode="auto">
                  <a:xfrm>
                    <a:off x="3662" y="2023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0" name="Oval 192"/>
                  <p:cNvSpPr>
                    <a:spLocks noChangeArrowheads="1"/>
                  </p:cNvSpPr>
                  <p:nvPr/>
                </p:nvSpPr>
                <p:spPr bwMode="auto">
                  <a:xfrm>
                    <a:off x="3659" y="2005"/>
                    <a:ext cx="7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1" name="Oval 193"/>
                  <p:cNvSpPr>
                    <a:spLocks noChangeArrowheads="1"/>
                  </p:cNvSpPr>
                  <p:nvPr/>
                </p:nvSpPr>
                <p:spPr bwMode="auto">
                  <a:xfrm>
                    <a:off x="3646" y="1983"/>
                    <a:ext cx="5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2" name="Oval 194"/>
                  <p:cNvSpPr>
                    <a:spLocks noChangeArrowheads="1"/>
                  </p:cNvSpPr>
                  <p:nvPr/>
                </p:nvSpPr>
                <p:spPr bwMode="auto">
                  <a:xfrm>
                    <a:off x="3619" y="1995"/>
                    <a:ext cx="7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3" name="Oval 195"/>
                  <p:cNvSpPr>
                    <a:spLocks noChangeArrowheads="1"/>
                  </p:cNvSpPr>
                  <p:nvPr/>
                </p:nvSpPr>
                <p:spPr bwMode="auto">
                  <a:xfrm>
                    <a:off x="3631" y="2008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4" name="Oval 196"/>
                  <p:cNvSpPr>
                    <a:spLocks noChangeArrowheads="1"/>
                  </p:cNvSpPr>
                  <p:nvPr/>
                </p:nvSpPr>
                <p:spPr bwMode="auto">
                  <a:xfrm>
                    <a:off x="3639" y="2022"/>
                    <a:ext cx="7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5" name="Oval 197"/>
                  <p:cNvSpPr>
                    <a:spLocks noChangeArrowheads="1"/>
                  </p:cNvSpPr>
                  <p:nvPr/>
                </p:nvSpPr>
                <p:spPr bwMode="auto">
                  <a:xfrm>
                    <a:off x="3652" y="2032"/>
                    <a:ext cx="5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6" name="Oval 198"/>
                  <p:cNvSpPr>
                    <a:spLocks noChangeArrowheads="1"/>
                  </p:cNvSpPr>
                  <p:nvPr/>
                </p:nvSpPr>
                <p:spPr bwMode="auto">
                  <a:xfrm>
                    <a:off x="3627" y="2036"/>
                    <a:ext cx="7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67" name="Oval 199"/>
                  <p:cNvSpPr>
                    <a:spLocks noChangeArrowheads="1"/>
                  </p:cNvSpPr>
                  <p:nvPr/>
                </p:nvSpPr>
                <p:spPr bwMode="auto">
                  <a:xfrm>
                    <a:off x="3616" y="2023"/>
                    <a:ext cx="6" cy="8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183" name="Group 200"/>
                <p:cNvGrpSpPr>
                  <a:grpSpLocks/>
                </p:cNvGrpSpPr>
                <p:nvPr/>
              </p:nvGrpSpPr>
              <p:grpSpPr bwMode="auto">
                <a:xfrm>
                  <a:off x="3516" y="2362"/>
                  <a:ext cx="151" cy="155"/>
                  <a:chOff x="3516" y="2362"/>
                  <a:chExt cx="151" cy="155"/>
                </a:xfrm>
              </p:grpSpPr>
              <p:sp>
                <p:nvSpPr>
                  <p:cNvPr id="29" name="Oval 201"/>
                  <p:cNvSpPr>
                    <a:spLocks noChangeArrowheads="1"/>
                  </p:cNvSpPr>
                  <p:nvPr/>
                </p:nvSpPr>
                <p:spPr bwMode="auto">
                  <a:xfrm>
                    <a:off x="3630" y="2362"/>
                    <a:ext cx="5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0" name="Oval 202"/>
                  <p:cNvSpPr>
                    <a:spLocks noChangeArrowheads="1"/>
                  </p:cNvSpPr>
                  <p:nvPr/>
                </p:nvSpPr>
                <p:spPr bwMode="auto">
                  <a:xfrm>
                    <a:off x="3655" y="2379"/>
                    <a:ext cx="7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1" name="Oval 203"/>
                  <p:cNvSpPr>
                    <a:spLocks noChangeArrowheads="1"/>
                  </p:cNvSpPr>
                  <p:nvPr/>
                </p:nvSpPr>
                <p:spPr bwMode="auto">
                  <a:xfrm>
                    <a:off x="3614" y="2394"/>
                    <a:ext cx="7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2" name="Oval 204"/>
                  <p:cNvSpPr>
                    <a:spLocks noChangeArrowheads="1"/>
                  </p:cNvSpPr>
                  <p:nvPr/>
                </p:nvSpPr>
                <p:spPr bwMode="auto">
                  <a:xfrm>
                    <a:off x="3645" y="2420"/>
                    <a:ext cx="5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3" name="Oval 205"/>
                  <p:cNvSpPr>
                    <a:spLocks noChangeArrowheads="1"/>
                  </p:cNvSpPr>
                  <p:nvPr/>
                </p:nvSpPr>
                <p:spPr bwMode="auto">
                  <a:xfrm>
                    <a:off x="3599" y="2409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4" name="Oval 206"/>
                  <p:cNvSpPr>
                    <a:spLocks noChangeArrowheads="1"/>
                  </p:cNvSpPr>
                  <p:nvPr/>
                </p:nvSpPr>
                <p:spPr bwMode="auto">
                  <a:xfrm>
                    <a:off x="3626" y="2429"/>
                    <a:ext cx="5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5" name="Oval 207"/>
                  <p:cNvSpPr>
                    <a:spLocks noChangeArrowheads="1"/>
                  </p:cNvSpPr>
                  <p:nvPr/>
                </p:nvSpPr>
                <p:spPr bwMode="auto">
                  <a:xfrm>
                    <a:off x="3642" y="2448"/>
                    <a:ext cx="5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6" name="Oval 208"/>
                  <p:cNvSpPr>
                    <a:spLocks noChangeArrowheads="1"/>
                  </p:cNvSpPr>
                  <p:nvPr/>
                </p:nvSpPr>
                <p:spPr bwMode="auto">
                  <a:xfrm>
                    <a:off x="3662" y="2452"/>
                    <a:ext cx="5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7" name="Oval 209"/>
                  <p:cNvSpPr>
                    <a:spLocks noChangeArrowheads="1"/>
                  </p:cNvSpPr>
                  <p:nvPr/>
                </p:nvSpPr>
                <p:spPr bwMode="auto">
                  <a:xfrm>
                    <a:off x="3644" y="2469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8" name="Oval 210"/>
                  <p:cNvSpPr>
                    <a:spLocks noChangeArrowheads="1"/>
                  </p:cNvSpPr>
                  <p:nvPr/>
                </p:nvSpPr>
                <p:spPr bwMode="auto">
                  <a:xfrm>
                    <a:off x="3563" y="2391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9" name="Oval 211"/>
                  <p:cNvSpPr>
                    <a:spLocks noChangeArrowheads="1"/>
                  </p:cNvSpPr>
                  <p:nvPr/>
                </p:nvSpPr>
                <p:spPr bwMode="auto">
                  <a:xfrm>
                    <a:off x="3574" y="2412"/>
                    <a:ext cx="6" cy="8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0" name="Oval 212"/>
                  <p:cNvSpPr>
                    <a:spLocks noChangeArrowheads="1"/>
                  </p:cNvSpPr>
                  <p:nvPr/>
                </p:nvSpPr>
                <p:spPr bwMode="auto">
                  <a:xfrm>
                    <a:off x="3548" y="2414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" name="Oval 213"/>
                  <p:cNvSpPr>
                    <a:spLocks noChangeArrowheads="1"/>
                  </p:cNvSpPr>
                  <p:nvPr/>
                </p:nvSpPr>
                <p:spPr bwMode="auto">
                  <a:xfrm>
                    <a:off x="3531" y="2400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2" name="Oval 214"/>
                  <p:cNvSpPr>
                    <a:spLocks noChangeArrowheads="1"/>
                  </p:cNvSpPr>
                  <p:nvPr/>
                </p:nvSpPr>
                <p:spPr bwMode="auto">
                  <a:xfrm>
                    <a:off x="3516" y="2420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3" name="Oval 215"/>
                  <p:cNvSpPr>
                    <a:spLocks noChangeArrowheads="1"/>
                  </p:cNvSpPr>
                  <p:nvPr/>
                </p:nvSpPr>
                <p:spPr bwMode="auto">
                  <a:xfrm>
                    <a:off x="3566" y="2444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4" name="Oval 216"/>
                  <p:cNvSpPr>
                    <a:spLocks noChangeArrowheads="1"/>
                  </p:cNvSpPr>
                  <p:nvPr/>
                </p:nvSpPr>
                <p:spPr bwMode="auto">
                  <a:xfrm>
                    <a:off x="3554" y="2454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5" name="Oval 217"/>
                  <p:cNvSpPr>
                    <a:spLocks noChangeArrowheads="1"/>
                  </p:cNvSpPr>
                  <p:nvPr/>
                </p:nvSpPr>
                <p:spPr bwMode="auto">
                  <a:xfrm>
                    <a:off x="3516" y="2444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6" name="Oval 218"/>
                  <p:cNvSpPr>
                    <a:spLocks noChangeArrowheads="1"/>
                  </p:cNvSpPr>
                  <p:nvPr/>
                </p:nvSpPr>
                <p:spPr bwMode="auto">
                  <a:xfrm>
                    <a:off x="3531" y="2458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7" name="Oval 219"/>
                  <p:cNvSpPr>
                    <a:spLocks noChangeArrowheads="1"/>
                  </p:cNvSpPr>
                  <p:nvPr/>
                </p:nvSpPr>
                <p:spPr bwMode="auto">
                  <a:xfrm>
                    <a:off x="3518" y="2472"/>
                    <a:ext cx="5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8" name="Oval 220"/>
                  <p:cNvSpPr>
                    <a:spLocks noChangeArrowheads="1"/>
                  </p:cNvSpPr>
                  <p:nvPr/>
                </p:nvSpPr>
                <p:spPr bwMode="auto">
                  <a:xfrm>
                    <a:off x="3525" y="2484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9" name="Oval 221"/>
                  <p:cNvSpPr>
                    <a:spLocks noChangeArrowheads="1"/>
                  </p:cNvSpPr>
                  <p:nvPr/>
                </p:nvSpPr>
                <p:spPr bwMode="auto">
                  <a:xfrm>
                    <a:off x="3609" y="2460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0" name="Oval 222"/>
                  <p:cNvSpPr>
                    <a:spLocks noChangeArrowheads="1"/>
                  </p:cNvSpPr>
                  <p:nvPr/>
                </p:nvSpPr>
                <p:spPr bwMode="auto">
                  <a:xfrm>
                    <a:off x="3595" y="2460"/>
                    <a:ext cx="6" cy="8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1" name="Oval 223"/>
                  <p:cNvSpPr>
                    <a:spLocks noChangeArrowheads="1"/>
                  </p:cNvSpPr>
                  <p:nvPr/>
                </p:nvSpPr>
                <p:spPr bwMode="auto">
                  <a:xfrm>
                    <a:off x="3575" y="2476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2" name="Oval 224"/>
                  <p:cNvSpPr>
                    <a:spLocks noChangeArrowheads="1"/>
                  </p:cNvSpPr>
                  <p:nvPr/>
                </p:nvSpPr>
                <p:spPr bwMode="auto">
                  <a:xfrm>
                    <a:off x="3552" y="2479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3" name="Oval 225"/>
                  <p:cNvSpPr>
                    <a:spLocks noChangeArrowheads="1"/>
                  </p:cNvSpPr>
                  <p:nvPr/>
                </p:nvSpPr>
                <p:spPr bwMode="auto">
                  <a:xfrm>
                    <a:off x="3621" y="2489"/>
                    <a:ext cx="5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4" name="Oval 226"/>
                  <p:cNvSpPr>
                    <a:spLocks noChangeArrowheads="1"/>
                  </p:cNvSpPr>
                  <p:nvPr/>
                </p:nvSpPr>
                <p:spPr bwMode="auto">
                  <a:xfrm>
                    <a:off x="3606" y="2490"/>
                    <a:ext cx="7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5" name="Oval 227"/>
                  <p:cNvSpPr>
                    <a:spLocks noChangeArrowheads="1"/>
                  </p:cNvSpPr>
                  <p:nvPr/>
                </p:nvSpPr>
                <p:spPr bwMode="auto">
                  <a:xfrm>
                    <a:off x="3595" y="2488"/>
                    <a:ext cx="6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6" name="Oval 228"/>
                  <p:cNvSpPr>
                    <a:spLocks noChangeArrowheads="1"/>
                  </p:cNvSpPr>
                  <p:nvPr/>
                </p:nvSpPr>
                <p:spPr bwMode="auto">
                  <a:xfrm>
                    <a:off x="3558" y="2494"/>
                    <a:ext cx="7" cy="6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7" name="Oval 229"/>
                  <p:cNvSpPr>
                    <a:spLocks noChangeArrowheads="1"/>
                  </p:cNvSpPr>
                  <p:nvPr/>
                </p:nvSpPr>
                <p:spPr bwMode="auto">
                  <a:xfrm>
                    <a:off x="3584" y="2508"/>
                    <a:ext cx="6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58" name="Oval 230"/>
                  <p:cNvSpPr>
                    <a:spLocks noChangeArrowheads="1"/>
                  </p:cNvSpPr>
                  <p:nvPr/>
                </p:nvSpPr>
                <p:spPr bwMode="auto">
                  <a:xfrm>
                    <a:off x="3542" y="2510"/>
                    <a:ext cx="7" cy="7"/>
                  </a:xfrm>
                  <a:prstGeom prst="ellipse">
                    <a:avLst/>
                  </a:prstGeom>
                  <a:solidFill>
                    <a:srgbClr val="4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12700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wrap="none" anchor="ctr"/>
                  <a:lstStyle>
                    <a:lvl1pPr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1pPr>
                    <a:lvl2pPr marL="742950" indent="-28575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2pPr>
                    <a:lvl3pPr marL="11430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3pPr>
                    <a:lvl4pPr marL="16002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4pPr>
                    <a:lvl5pPr marL="2057400" indent="-228600" eaLnBrk="0" hangingPunct="0"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5pPr>
                    <a:lvl6pPr marL="25146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6pPr>
                    <a:lvl7pPr marL="29718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7pPr>
                    <a:lvl8pPr marL="34290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8pPr>
                    <a:lvl9pPr marL="3886200" indent="-228600" algn="ctr" eaLnBrk="0" fontAlgn="base" hangingPunct="0">
                      <a:spcBef>
                        <a:spcPct val="50000"/>
                      </a:spcBef>
                      <a:spcAft>
                        <a:spcPct val="50000"/>
                      </a:spcAft>
                      <a:defRPr sz="2200">
                        <a:solidFill>
                          <a:schemeClr val="tx1"/>
                        </a:solidFill>
                        <a:latin typeface="Arial" pitchFamily="34" charset="0"/>
                      </a:defRPr>
                    </a:lvl9pPr>
                  </a:lstStyle>
                  <a:p>
                    <a:pPr eaLnBrk="1" hangingPunct="1"/>
                    <a:endParaRPr lang="en-US" altLang="en-US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</p:grpSp>
      </p:grpSp>
      <p:sp>
        <p:nvSpPr>
          <p:cNvPr id="199" name="AutoShape 242"/>
          <p:cNvSpPr>
            <a:spLocks noChangeArrowheads="1"/>
          </p:cNvSpPr>
          <p:nvPr/>
        </p:nvSpPr>
        <p:spPr bwMode="auto">
          <a:xfrm>
            <a:off x="2982401" y="3135568"/>
            <a:ext cx="798873" cy="533472"/>
          </a:xfrm>
          <a:prstGeom prst="rightArrow">
            <a:avLst>
              <a:gd name="adj1" fmla="val 50000"/>
              <a:gd name="adj2" fmla="val 66667"/>
            </a:avLst>
          </a:prstGeom>
          <a:solidFill>
            <a:srgbClr val="289FD4"/>
          </a:solidFill>
          <a:ln w="9525">
            <a:solidFill>
              <a:srgbClr val="59515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n-US" altLang="en-US">
              <a:solidFill>
                <a:prstClr val="black"/>
              </a:solidFill>
            </a:endParaRPr>
          </a:p>
        </p:txBody>
      </p:sp>
      <p:grpSp>
        <p:nvGrpSpPr>
          <p:cNvPr id="184" name="Group 4"/>
          <p:cNvGrpSpPr/>
          <p:nvPr/>
        </p:nvGrpSpPr>
        <p:grpSpPr>
          <a:xfrm>
            <a:off x="202154" y="2710151"/>
            <a:ext cx="923739" cy="1368667"/>
            <a:chOff x="493594" y="1045185"/>
            <a:chExt cx="1652958" cy="1455652"/>
          </a:xfrm>
        </p:grpSpPr>
        <p:pic>
          <p:nvPicPr>
            <p:cNvPr id="202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5249" y="1045185"/>
              <a:ext cx="757585" cy="688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3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4292" y="1807873"/>
              <a:ext cx="762260" cy="6929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4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594" y="1483317"/>
              <a:ext cx="836923" cy="760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05" name="Picture 5" descr="http://lostcoastoutpost.com/media/uploads/post/7291/HiN1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42"/>
          <a:stretch/>
        </p:blipFill>
        <p:spPr bwMode="auto">
          <a:xfrm>
            <a:off x="5395535" y="2191871"/>
            <a:ext cx="3738785" cy="415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0" name="AutoShape 242"/>
          <p:cNvSpPr>
            <a:spLocks noChangeArrowheads="1"/>
          </p:cNvSpPr>
          <p:nvPr/>
        </p:nvSpPr>
        <p:spPr bwMode="auto">
          <a:xfrm>
            <a:off x="1117830" y="3135799"/>
            <a:ext cx="794676" cy="537419"/>
          </a:xfrm>
          <a:prstGeom prst="rightArrow">
            <a:avLst>
              <a:gd name="adj1" fmla="val 50000"/>
              <a:gd name="adj2" fmla="val 66667"/>
            </a:avLst>
          </a:prstGeom>
          <a:solidFill>
            <a:srgbClr val="289FD4"/>
          </a:solidFill>
          <a:ln w="9525">
            <a:solidFill>
              <a:srgbClr val="59515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50000"/>
              </a:spcAft>
              <a:defRPr sz="2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985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Quadrivalent </a:t>
            </a:r>
            <a:r>
              <a:rPr lang="fr-BE" dirty="0" err="1" smtClean="0"/>
              <a:t>flu</a:t>
            </a:r>
            <a:r>
              <a:rPr lang="fr-BE" dirty="0" smtClean="0"/>
              <a:t> vaccines (QIV)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997149"/>
          </a:xfrm>
        </p:spPr>
        <p:txBody>
          <a:bodyPr/>
          <a:lstStyle/>
          <a:p>
            <a:r>
              <a:rPr lang="fr-BE" dirty="0" err="1" smtClean="0"/>
              <a:t>Several</a:t>
            </a:r>
            <a:r>
              <a:rPr lang="fr-BE" dirty="0" smtClean="0"/>
              <a:t> </a:t>
            </a:r>
            <a:r>
              <a:rPr lang="fr-BE" dirty="0" err="1" smtClean="0"/>
              <a:t>companies</a:t>
            </a:r>
            <a:r>
              <a:rPr lang="fr-BE" dirty="0" smtClean="0"/>
              <a:t>, </a:t>
            </a:r>
            <a:r>
              <a:rPr lang="fr-BE" dirty="0" err="1" smtClean="0"/>
              <a:t>with</a:t>
            </a:r>
            <a:r>
              <a:rPr lang="fr-BE" dirty="0" smtClean="0"/>
              <a:t> </a:t>
            </a:r>
          </a:p>
          <a:p>
            <a:endParaRPr lang="fr-BE" dirty="0" smtClean="0"/>
          </a:p>
          <a:p>
            <a:pPr>
              <a:buFont typeface="Arial" pitchFamily="34" charset="0"/>
              <a:buChar char="•"/>
            </a:pPr>
            <a:r>
              <a:rPr lang="fr-BE" dirty="0" smtClean="0"/>
              <a:t>GSK</a:t>
            </a:r>
          </a:p>
          <a:p>
            <a:pPr>
              <a:buFont typeface="Arial" pitchFamily="34" charset="0"/>
              <a:buChar char="•"/>
            </a:pPr>
            <a:endParaRPr lang="fr-BE" dirty="0" smtClean="0"/>
          </a:p>
          <a:p>
            <a:pPr>
              <a:buFont typeface="Arial" pitchFamily="34" charset="0"/>
              <a:buChar char="•"/>
            </a:pPr>
            <a:r>
              <a:rPr lang="fr-BE" dirty="0" smtClean="0"/>
              <a:t>Sanofi Pasteur </a:t>
            </a:r>
          </a:p>
          <a:p>
            <a:pPr>
              <a:buFont typeface="Arial" pitchFamily="34" charset="0"/>
              <a:buChar char="•"/>
            </a:pPr>
            <a:endParaRPr lang="fr-BE" dirty="0" smtClean="0"/>
          </a:p>
          <a:p>
            <a:pPr>
              <a:buNone/>
            </a:pPr>
            <a:r>
              <a:rPr lang="fr-BE" dirty="0" smtClean="0"/>
              <a:t>	   </a:t>
            </a:r>
            <a:r>
              <a:rPr lang="fr-BE" dirty="0" err="1" smtClean="0"/>
              <a:t>leading</a:t>
            </a:r>
            <a:r>
              <a:rPr lang="fr-BE" dirty="0" smtClean="0"/>
              <a:t>  the </a:t>
            </a:r>
            <a:r>
              <a:rPr lang="fr-BE" dirty="0" err="1" smtClean="0"/>
              <a:t>research</a:t>
            </a:r>
            <a:r>
              <a:rPr lang="fr-BE" dirty="0" smtClean="0"/>
              <a:t>/ </a:t>
            </a:r>
            <a:r>
              <a:rPr lang="fr-BE" dirty="0" err="1" smtClean="0"/>
              <a:t>clinical</a:t>
            </a:r>
            <a:r>
              <a:rPr lang="fr-BE" dirty="0" smtClean="0"/>
              <a:t> trials</a:t>
            </a:r>
          </a:p>
          <a:p>
            <a:pPr marL="0" indent="0">
              <a:buNone/>
            </a:pPr>
            <a:r>
              <a:rPr lang="fr-BE" dirty="0" smtClean="0"/>
              <a:t>    </a:t>
            </a:r>
            <a:endParaRPr lang="fr-BE" dirty="0"/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fr-BE" dirty="0" err="1" smtClean="0"/>
              <a:t>What</a:t>
            </a:r>
            <a:r>
              <a:rPr lang="fr-BE" dirty="0" smtClean="0"/>
              <a:t> about  quadrivalent vaccines…?</a:t>
            </a:r>
            <a:endParaRPr lang="fr-BE" dirty="0"/>
          </a:p>
        </p:txBody>
      </p:sp>
      <p:sp>
        <p:nvSpPr>
          <p:cNvPr id="3" name="Sous-titre 2"/>
          <p:cNvSpPr>
            <a:spLocks noGrp="1"/>
          </p:cNvSpPr>
          <p:nvPr>
            <p:ph type="subTitle" sz="quarter" idx="1"/>
          </p:nvPr>
        </p:nvSpPr>
        <p:spPr>
          <a:xfrm>
            <a:off x="755576" y="3886200"/>
            <a:ext cx="7776864" cy="1752600"/>
          </a:xfrm>
        </p:spPr>
        <p:txBody>
          <a:bodyPr/>
          <a:lstStyle/>
          <a:p>
            <a:r>
              <a:rPr lang="fr-BE" dirty="0" smtClean="0"/>
              <a:t>That </a:t>
            </a:r>
            <a:r>
              <a:rPr lang="fr-BE" dirty="0" err="1" smtClean="0"/>
              <a:t>means</a:t>
            </a:r>
            <a:r>
              <a:rPr lang="fr-BE" dirty="0" smtClean="0"/>
              <a:t>:	</a:t>
            </a:r>
            <a:r>
              <a:rPr lang="fr-BE" dirty="0" err="1" smtClean="0"/>
              <a:t>with</a:t>
            </a:r>
            <a:r>
              <a:rPr lang="fr-BE" dirty="0" smtClean="0"/>
              <a:t> the </a:t>
            </a:r>
            <a:r>
              <a:rPr lang="fr-BE" dirty="0" err="1" smtClean="0"/>
              <a:t>two</a:t>
            </a:r>
            <a:r>
              <a:rPr lang="fr-BE" dirty="0" smtClean="0"/>
              <a:t> B </a:t>
            </a:r>
            <a:r>
              <a:rPr lang="fr-BE" dirty="0" err="1" smtClean="0"/>
              <a:t>strains</a:t>
            </a:r>
            <a:r>
              <a:rPr lang="fr-BE" dirty="0" smtClean="0"/>
              <a:t>    </a:t>
            </a:r>
            <a:r>
              <a:rPr lang="fr-BE" dirty="0" err="1" smtClean="0"/>
              <a:t>Only</a:t>
            </a:r>
            <a:r>
              <a:rPr lang="fr-BE" dirty="0" smtClean="0"/>
              <a:t> </a:t>
            </a:r>
            <a:r>
              <a:rPr lang="fr-BE" dirty="0" smtClean="0">
                <a:sym typeface="Symbol"/>
              </a:rPr>
              <a:t> </a:t>
            </a:r>
            <a:r>
              <a:rPr lang="fr-BE" dirty="0" err="1" smtClean="0">
                <a:sym typeface="Symbol"/>
              </a:rPr>
              <a:t>Rix</a:t>
            </a:r>
            <a:r>
              <a:rPr lang="fr-BE" dirty="0" smtClean="0">
                <a:sym typeface="Symbol"/>
              </a:rPr>
              <a:t> </a:t>
            </a:r>
            <a:r>
              <a:rPr lang="fr-BE" dirty="0" err="1" smtClean="0">
                <a:sym typeface="Symbol"/>
              </a:rPr>
              <a:t>Tetra</a:t>
            </a:r>
            <a:r>
              <a:rPr lang="fr-BE" dirty="0" smtClean="0">
                <a:sym typeface="Symbol"/>
              </a:rPr>
              <a:t> </a:t>
            </a:r>
            <a:r>
              <a:rPr lang="fr-BE" dirty="0" smtClean="0"/>
              <a:t>in 2015 and 2016</a:t>
            </a:r>
          </a:p>
          <a:p>
            <a:endParaRPr lang="fr-BE" dirty="0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3429000"/>
            <a:ext cx="7772400" cy="2339975"/>
          </a:xfrm>
        </p:spPr>
        <p:txBody>
          <a:bodyPr/>
          <a:lstStyle/>
          <a:p>
            <a:r>
              <a:rPr lang="fr-BE" dirty="0" smtClean="0">
                <a:sym typeface="Symbol"/>
              </a:rPr>
              <a:t> </a:t>
            </a:r>
            <a:r>
              <a:rPr lang="fr-BE" dirty="0" err="1" smtClean="0">
                <a:sym typeface="Symbol"/>
              </a:rPr>
              <a:t>Rix</a:t>
            </a:r>
            <a:r>
              <a:rPr lang="fr-BE" dirty="0" smtClean="0">
                <a:sym typeface="Symbol"/>
              </a:rPr>
              <a:t> </a:t>
            </a:r>
            <a:r>
              <a:rPr lang="fr-BE" dirty="0" err="1" smtClean="0">
                <a:sym typeface="Symbol"/>
              </a:rPr>
              <a:t>Tetra</a:t>
            </a:r>
            <a:r>
              <a:rPr lang="fr-BE" dirty="0" smtClean="0">
                <a:sym typeface="Symbol"/>
              </a:rPr>
              <a:t>: </a:t>
            </a:r>
            <a:r>
              <a:rPr lang="fr-BE" dirty="0" err="1" smtClean="0">
                <a:sym typeface="Symbol"/>
              </a:rPr>
              <a:t>immunomogical</a:t>
            </a:r>
            <a:r>
              <a:rPr lang="fr-BE" dirty="0" smtClean="0">
                <a:sym typeface="Symbol"/>
              </a:rPr>
              <a:t>  and </a:t>
            </a:r>
            <a:r>
              <a:rPr lang="fr-BE" dirty="0" err="1" smtClean="0">
                <a:sym typeface="Symbol"/>
              </a:rPr>
              <a:t>safety</a:t>
            </a:r>
            <a:r>
              <a:rPr lang="fr-BE" dirty="0" smtClean="0">
                <a:sym typeface="Symbol"/>
              </a:rPr>
              <a:t> data</a:t>
            </a:r>
            <a:endParaRPr lang="fr-BE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" name="object 349"/>
          <p:cNvSpPr txBox="1"/>
          <p:nvPr/>
        </p:nvSpPr>
        <p:spPr>
          <a:xfrm>
            <a:off x="243840" y="1338880"/>
            <a:ext cx="8406384" cy="33420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700"/>
              </a:lnSpc>
              <a:spcBef>
                <a:spcPts val="32"/>
              </a:spcBef>
            </a:pPr>
            <a:endParaRPr sz="700">
              <a:solidFill>
                <a:prstClr val="black"/>
              </a:solidFill>
            </a:endParaRPr>
          </a:p>
          <a:p>
            <a:pPr marL="216103">
              <a:lnSpc>
                <a:spcPct val="95825"/>
              </a:lnSpc>
              <a:spcBef>
                <a:spcPts val="31000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Per</a:t>
            </a:r>
            <a:r>
              <a:rPr sz="1400" spc="-1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pro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o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c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ol</a:t>
            </a:r>
            <a:r>
              <a:rPr sz="1400" spc="-50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mm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unogenici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y</a:t>
            </a:r>
            <a:r>
              <a:rPr sz="1400" spc="-3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c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ohor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:</a:t>
            </a:r>
            <a:r>
              <a:rPr sz="1400" spc="-3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-Q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sz="1400" spc="-1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n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=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1809,</a:t>
            </a:r>
            <a:r>
              <a:rPr sz="1400" spc="-5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400" spc="-69" dirty="0" smtClean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400" spc="-25" dirty="0" smtClean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ic</a:t>
            </a:r>
            <a:r>
              <a:rPr sz="1400" spc="-25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n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=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608,</a:t>
            </a:r>
            <a:r>
              <a:rPr sz="1400" spc="-5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400" spc="-64" dirty="0" smtClean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400" spc="-119" dirty="0" smtClean="0">
                <a:solidFill>
                  <a:prstClr val="black"/>
                </a:solidFill>
                <a:latin typeface="Arial"/>
                <a:cs typeface="Arial"/>
              </a:rPr>
              <a:t>Y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am</a:t>
            </a:r>
            <a:r>
              <a:rPr sz="1400" spc="-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n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=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534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pPr marL="216103">
              <a:lnSpc>
                <a:spcPct val="95825"/>
              </a:lnSpc>
              <a:spcBef>
                <a:spcPts val="70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Ge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om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etric</a:t>
            </a:r>
            <a:r>
              <a:rPr sz="1400" spc="-4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m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ean</a:t>
            </a:r>
            <a:r>
              <a:rPr sz="1400" spc="-1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res</a:t>
            </a:r>
            <a:r>
              <a:rPr sz="1400" spc="-3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at</a:t>
            </a:r>
            <a:r>
              <a:rPr sz="1400" spc="-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ay 0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(P</a:t>
            </a:r>
            <a:r>
              <a:rPr sz="1400" spc="-9" dirty="0" smtClean="0">
                <a:solidFill>
                  <a:prstClr val="black"/>
                </a:solidFill>
                <a:latin typeface="Arial"/>
                <a:cs typeface="Arial"/>
              </a:rPr>
              <a:t>R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E)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and</a:t>
            </a:r>
            <a:r>
              <a:rPr sz="1400" spc="-1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ay</a:t>
            </a:r>
            <a:r>
              <a:rPr sz="1400" spc="-1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21</a:t>
            </a:r>
            <a:r>
              <a:rPr sz="1400" spc="-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(P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O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1400" spc="-9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).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48" name="object 348"/>
          <p:cNvSpPr txBox="1"/>
          <p:nvPr/>
        </p:nvSpPr>
        <p:spPr>
          <a:xfrm>
            <a:off x="2055368" y="3851761"/>
            <a:ext cx="716276" cy="2305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2737">
              <a:lnSpc>
                <a:spcPct val="95825"/>
              </a:lnSpc>
              <a:spcBef>
                <a:spcPts val="455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P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(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21)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47" name="object 347"/>
          <p:cNvSpPr txBox="1"/>
          <p:nvPr/>
        </p:nvSpPr>
        <p:spPr>
          <a:xfrm>
            <a:off x="3924554" y="3863080"/>
            <a:ext cx="718184" cy="2305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3754">
              <a:lnSpc>
                <a:spcPct val="95825"/>
              </a:lnSpc>
              <a:spcBef>
                <a:spcPts val="335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P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(D21)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46" name="object 346"/>
          <p:cNvSpPr txBox="1"/>
          <p:nvPr/>
        </p:nvSpPr>
        <p:spPr>
          <a:xfrm>
            <a:off x="5791836" y="3855471"/>
            <a:ext cx="719959" cy="2305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66420">
              <a:lnSpc>
                <a:spcPct val="95825"/>
              </a:lnSpc>
              <a:spcBef>
                <a:spcPts val="415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P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(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21)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45" name="object 345"/>
          <p:cNvSpPr txBox="1"/>
          <p:nvPr/>
        </p:nvSpPr>
        <p:spPr>
          <a:xfrm>
            <a:off x="7687818" y="3863080"/>
            <a:ext cx="693924" cy="23050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40385">
              <a:lnSpc>
                <a:spcPct val="95825"/>
              </a:lnSpc>
              <a:spcBef>
                <a:spcPts val="335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P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(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21)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6" name="object 156"/>
          <p:cNvSpPr/>
          <p:nvPr/>
        </p:nvSpPr>
        <p:spPr>
          <a:xfrm>
            <a:off x="0" y="-1"/>
            <a:ext cx="9144000" cy="513636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7" name="object 157"/>
          <p:cNvSpPr/>
          <p:nvPr/>
        </p:nvSpPr>
        <p:spPr>
          <a:xfrm>
            <a:off x="7496175" y="178346"/>
            <a:ext cx="1517650" cy="613510"/>
          </a:xfrm>
          <a:custGeom>
            <a:avLst/>
            <a:gdLst/>
            <a:ahLst/>
            <a:cxnLst/>
            <a:rect l="l" t="t" r="r" b="b"/>
            <a:pathLst>
              <a:path w="1517650" h="819150">
                <a:moveTo>
                  <a:pt x="0" y="819150"/>
                </a:moveTo>
                <a:lnTo>
                  <a:pt x="1517650" y="819150"/>
                </a:lnTo>
                <a:lnTo>
                  <a:pt x="1517650" y="0"/>
                </a:lnTo>
                <a:lnTo>
                  <a:pt x="0" y="0"/>
                </a:lnTo>
                <a:lnTo>
                  <a:pt x="0" y="8191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9" name="object 159"/>
          <p:cNvSpPr/>
          <p:nvPr/>
        </p:nvSpPr>
        <p:spPr>
          <a:xfrm>
            <a:off x="243840" y="1338880"/>
            <a:ext cx="8406384" cy="3342062"/>
          </a:xfrm>
          <a:custGeom>
            <a:avLst/>
            <a:gdLst/>
            <a:ahLst/>
            <a:cxnLst/>
            <a:rect l="l" t="t" r="r" b="b"/>
            <a:pathLst>
              <a:path w="8406384" h="4462272">
                <a:moveTo>
                  <a:pt x="0" y="4462272"/>
                </a:moveTo>
                <a:lnTo>
                  <a:pt x="8406384" y="4462272"/>
                </a:lnTo>
                <a:lnTo>
                  <a:pt x="8406384" y="0"/>
                </a:lnTo>
                <a:lnTo>
                  <a:pt x="0" y="0"/>
                </a:lnTo>
                <a:lnTo>
                  <a:pt x="0" y="44622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1022604" y="1498677"/>
            <a:ext cx="7479792" cy="2317072"/>
          </a:xfrm>
          <a:custGeom>
            <a:avLst/>
            <a:gdLst/>
            <a:ahLst/>
            <a:cxnLst/>
            <a:rect l="l" t="t" r="r" b="b"/>
            <a:pathLst>
              <a:path w="7479792" h="3093719">
                <a:moveTo>
                  <a:pt x="0" y="3093720"/>
                </a:moveTo>
                <a:lnTo>
                  <a:pt x="7479792" y="3093720"/>
                </a:lnTo>
                <a:lnTo>
                  <a:pt x="7479792" y="0"/>
                </a:lnTo>
                <a:lnTo>
                  <a:pt x="0" y="0"/>
                </a:lnTo>
                <a:lnTo>
                  <a:pt x="0" y="3093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1" name="object 161"/>
          <p:cNvSpPr/>
          <p:nvPr/>
        </p:nvSpPr>
        <p:spPr>
          <a:xfrm>
            <a:off x="1178053" y="3765528"/>
            <a:ext cx="208787" cy="49080"/>
          </a:xfrm>
          <a:custGeom>
            <a:avLst/>
            <a:gdLst/>
            <a:ahLst/>
            <a:cxnLst/>
            <a:rect l="l" t="t" r="r" b="b"/>
            <a:pathLst>
              <a:path w="208787" h="65531">
                <a:moveTo>
                  <a:pt x="0" y="0"/>
                </a:moveTo>
                <a:lnTo>
                  <a:pt x="0" y="65531"/>
                </a:lnTo>
                <a:lnTo>
                  <a:pt x="208787" y="65531"/>
                </a:lnTo>
                <a:lnTo>
                  <a:pt x="208787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2" name="object 162"/>
          <p:cNvSpPr/>
          <p:nvPr/>
        </p:nvSpPr>
        <p:spPr>
          <a:xfrm>
            <a:off x="2113789" y="3149164"/>
            <a:ext cx="207263" cy="665444"/>
          </a:xfrm>
          <a:custGeom>
            <a:avLst/>
            <a:gdLst/>
            <a:ahLst/>
            <a:cxnLst/>
            <a:rect l="l" t="t" r="r" b="b"/>
            <a:pathLst>
              <a:path w="207263" h="888491">
                <a:moveTo>
                  <a:pt x="0" y="0"/>
                </a:moveTo>
                <a:lnTo>
                  <a:pt x="0" y="888491"/>
                </a:lnTo>
                <a:lnTo>
                  <a:pt x="207263" y="888491"/>
                </a:lnTo>
                <a:lnTo>
                  <a:pt x="20726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3" name="object 163"/>
          <p:cNvSpPr/>
          <p:nvPr/>
        </p:nvSpPr>
        <p:spPr>
          <a:xfrm>
            <a:off x="3048001" y="3701608"/>
            <a:ext cx="208787" cy="112999"/>
          </a:xfrm>
          <a:custGeom>
            <a:avLst/>
            <a:gdLst/>
            <a:ahLst/>
            <a:cxnLst/>
            <a:rect l="l" t="t" r="r" b="b"/>
            <a:pathLst>
              <a:path w="208787" h="150875">
                <a:moveTo>
                  <a:pt x="0" y="0"/>
                </a:moveTo>
                <a:lnTo>
                  <a:pt x="0" y="150876"/>
                </a:lnTo>
                <a:lnTo>
                  <a:pt x="208787" y="150876"/>
                </a:lnTo>
                <a:lnTo>
                  <a:pt x="208787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4" name="object 164"/>
          <p:cNvSpPr/>
          <p:nvPr/>
        </p:nvSpPr>
        <p:spPr>
          <a:xfrm>
            <a:off x="3983737" y="2773638"/>
            <a:ext cx="207263" cy="1040970"/>
          </a:xfrm>
          <a:custGeom>
            <a:avLst/>
            <a:gdLst/>
            <a:ahLst/>
            <a:cxnLst/>
            <a:rect l="l" t="t" r="r" b="b"/>
            <a:pathLst>
              <a:path w="207263" h="1389888">
                <a:moveTo>
                  <a:pt x="0" y="0"/>
                </a:moveTo>
                <a:lnTo>
                  <a:pt x="0" y="1389887"/>
                </a:lnTo>
                <a:lnTo>
                  <a:pt x="207263" y="1389887"/>
                </a:lnTo>
                <a:lnTo>
                  <a:pt x="20726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4917949" y="3570346"/>
            <a:ext cx="207263" cy="244262"/>
          </a:xfrm>
          <a:custGeom>
            <a:avLst/>
            <a:gdLst/>
            <a:ahLst/>
            <a:cxnLst/>
            <a:rect l="l" t="t" r="r" b="b"/>
            <a:pathLst>
              <a:path w="207263" h="326135">
                <a:moveTo>
                  <a:pt x="0" y="0"/>
                </a:moveTo>
                <a:lnTo>
                  <a:pt x="0" y="326135"/>
                </a:lnTo>
                <a:lnTo>
                  <a:pt x="207263" y="326135"/>
                </a:lnTo>
                <a:lnTo>
                  <a:pt x="20726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5852161" y="2475728"/>
            <a:ext cx="208787" cy="1338879"/>
          </a:xfrm>
          <a:custGeom>
            <a:avLst/>
            <a:gdLst/>
            <a:ahLst/>
            <a:cxnLst/>
            <a:rect l="l" t="t" r="r" b="b"/>
            <a:pathLst>
              <a:path w="208787" h="1787652">
                <a:moveTo>
                  <a:pt x="0" y="0"/>
                </a:moveTo>
                <a:lnTo>
                  <a:pt x="0" y="1787652"/>
                </a:lnTo>
                <a:lnTo>
                  <a:pt x="208787" y="1787652"/>
                </a:lnTo>
                <a:lnTo>
                  <a:pt x="208787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7" name="object 167"/>
          <p:cNvSpPr/>
          <p:nvPr/>
        </p:nvSpPr>
        <p:spPr>
          <a:xfrm>
            <a:off x="6787897" y="3479032"/>
            <a:ext cx="207263" cy="335576"/>
          </a:xfrm>
          <a:custGeom>
            <a:avLst/>
            <a:gdLst/>
            <a:ahLst/>
            <a:cxnLst/>
            <a:rect l="l" t="t" r="r" b="b"/>
            <a:pathLst>
              <a:path w="207263" h="448055">
                <a:moveTo>
                  <a:pt x="0" y="0"/>
                </a:moveTo>
                <a:lnTo>
                  <a:pt x="0" y="448056"/>
                </a:lnTo>
                <a:lnTo>
                  <a:pt x="207263" y="448056"/>
                </a:lnTo>
                <a:lnTo>
                  <a:pt x="20726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8" name="object 168"/>
          <p:cNvSpPr/>
          <p:nvPr/>
        </p:nvSpPr>
        <p:spPr>
          <a:xfrm>
            <a:off x="7722108" y="1823981"/>
            <a:ext cx="208788" cy="1990627"/>
          </a:xfrm>
          <a:custGeom>
            <a:avLst/>
            <a:gdLst/>
            <a:ahLst/>
            <a:cxnLst/>
            <a:rect l="l" t="t" r="r" b="b"/>
            <a:pathLst>
              <a:path w="208788" h="2657855">
                <a:moveTo>
                  <a:pt x="0" y="0"/>
                </a:moveTo>
                <a:lnTo>
                  <a:pt x="0" y="2657856"/>
                </a:lnTo>
                <a:lnTo>
                  <a:pt x="208788" y="2657856"/>
                </a:lnTo>
                <a:lnTo>
                  <a:pt x="208788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1386841" y="3763244"/>
            <a:ext cx="207263" cy="51364"/>
          </a:xfrm>
          <a:custGeom>
            <a:avLst/>
            <a:gdLst/>
            <a:ahLst/>
            <a:cxnLst/>
            <a:rect l="l" t="t" r="r" b="b"/>
            <a:pathLst>
              <a:path w="207263" h="68579">
                <a:moveTo>
                  <a:pt x="0" y="0"/>
                </a:moveTo>
                <a:lnTo>
                  <a:pt x="0" y="68580"/>
                </a:lnTo>
                <a:lnTo>
                  <a:pt x="207263" y="68580"/>
                </a:lnTo>
                <a:lnTo>
                  <a:pt x="207263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0" name="object 170"/>
          <p:cNvSpPr/>
          <p:nvPr/>
        </p:nvSpPr>
        <p:spPr>
          <a:xfrm>
            <a:off x="2321052" y="3092093"/>
            <a:ext cx="207264" cy="722515"/>
          </a:xfrm>
          <a:custGeom>
            <a:avLst/>
            <a:gdLst/>
            <a:ahLst/>
            <a:cxnLst/>
            <a:rect l="l" t="t" r="r" b="b"/>
            <a:pathLst>
              <a:path w="207264" h="964691">
                <a:moveTo>
                  <a:pt x="0" y="0"/>
                </a:moveTo>
                <a:lnTo>
                  <a:pt x="0" y="964691"/>
                </a:lnTo>
                <a:lnTo>
                  <a:pt x="207264" y="964691"/>
                </a:lnTo>
                <a:lnTo>
                  <a:pt x="207264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1" name="object 171"/>
          <p:cNvSpPr/>
          <p:nvPr/>
        </p:nvSpPr>
        <p:spPr>
          <a:xfrm>
            <a:off x="3256789" y="3687911"/>
            <a:ext cx="207263" cy="126696"/>
          </a:xfrm>
          <a:custGeom>
            <a:avLst/>
            <a:gdLst/>
            <a:ahLst/>
            <a:cxnLst/>
            <a:rect l="l" t="t" r="r" b="b"/>
            <a:pathLst>
              <a:path w="207263" h="169163">
                <a:moveTo>
                  <a:pt x="0" y="0"/>
                </a:moveTo>
                <a:lnTo>
                  <a:pt x="0" y="169163"/>
                </a:lnTo>
                <a:lnTo>
                  <a:pt x="207263" y="169163"/>
                </a:lnTo>
                <a:lnTo>
                  <a:pt x="207263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4191001" y="2828426"/>
            <a:ext cx="207263" cy="986182"/>
          </a:xfrm>
          <a:custGeom>
            <a:avLst/>
            <a:gdLst/>
            <a:ahLst/>
            <a:cxnLst/>
            <a:rect l="l" t="t" r="r" b="b"/>
            <a:pathLst>
              <a:path w="207263" h="1316735">
                <a:moveTo>
                  <a:pt x="0" y="0"/>
                </a:moveTo>
                <a:lnTo>
                  <a:pt x="0" y="1316735"/>
                </a:lnTo>
                <a:lnTo>
                  <a:pt x="207263" y="1316735"/>
                </a:lnTo>
                <a:lnTo>
                  <a:pt x="207263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5125213" y="3571487"/>
            <a:ext cx="208787" cy="243121"/>
          </a:xfrm>
          <a:custGeom>
            <a:avLst/>
            <a:gdLst/>
            <a:ahLst/>
            <a:cxnLst/>
            <a:rect l="l" t="t" r="r" b="b"/>
            <a:pathLst>
              <a:path w="208787" h="324612">
                <a:moveTo>
                  <a:pt x="0" y="0"/>
                </a:moveTo>
                <a:lnTo>
                  <a:pt x="0" y="324611"/>
                </a:lnTo>
                <a:lnTo>
                  <a:pt x="208787" y="324611"/>
                </a:lnTo>
                <a:lnTo>
                  <a:pt x="208787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4" name="object 174"/>
          <p:cNvSpPr/>
          <p:nvPr/>
        </p:nvSpPr>
        <p:spPr>
          <a:xfrm>
            <a:off x="6060949" y="2512254"/>
            <a:ext cx="207263" cy="1302353"/>
          </a:xfrm>
          <a:custGeom>
            <a:avLst/>
            <a:gdLst/>
            <a:ahLst/>
            <a:cxnLst/>
            <a:rect l="l" t="t" r="r" b="b"/>
            <a:pathLst>
              <a:path w="207263" h="1738883">
                <a:moveTo>
                  <a:pt x="0" y="0"/>
                </a:moveTo>
                <a:lnTo>
                  <a:pt x="0" y="1738883"/>
                </a:lnTo>
                <a:lnTo>
                  <a:pt x="207263" y="1738883"/>
                </a:lnTo>
                <a:lnTo>
                  <a:pt x="207263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6995159" y="3480174"/>
            <a:ext cx="207264" cy="334434"/>
          </a:xfrm>
          <a:custGeom>
            <a:avLst/>
            <a:gdLst/>
            <a:ahLst/>
            <a:cxnLst/>
            <a:rect l="l" t="t" r="r" b="b"/>
            <a:pathLst>
              <a:path w="207264" h="446531">
                <a:moveTo>
                  <a:pt x="0" y="0"/>
                </a:moveTo>
                <a:lnTo>
                  <a:pt x="0" y="446531"/>
                </a:lnTo>
                <a:lnTo>
                  <a:pt x="207264" y="446531"/>
                </a:lnTo>
                <a:lnTo>
                  <a:pt x="207264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7930897" y="2536224"/>
            <a:ext cx="207263" cy="1278384"/>
          </a:xfrm>
          <a:custGeom>
            <a:avLst/>
            <a:gdLst/>
            <a:ahLst/>
            <a:cxnLst/>
            <a:rect l="l" t="t" r="r" b="b"/>
            <a:pathLst>
              <a:path w="207263" h="1706879">
                <a:moveTo>
                  <a:pt x="0" y="0"/>
                </a:moveTo>
                <a:lnTo>
                  <a:pt x="0" y="1706880"/>
                </a:lnTo>
                <a:lnTo>
                  <a:pt x="207263" y="1706880"/>
                </a:lnTo>
                <a:lnTo>
                  <a:pt x="207263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7" name="object 177"/>
          <p:cNvSpPr/>
          <p:nvPr/>
        </p:nvSpPr>
        <p:spPr>
          <a:xfrm>
            <a:off x="1594104" y="3766669"/>
            <a:ext cx="207264" cy="47939"/>
          </a:xfrm>
          <a:custGeom>
            <a:avLst/>
            <a:gdLst/>
            <a:ahLst/>
            <a:cxnLst/>
            <a:rect l="l" t="t" r="r" b="b"/>
            <a:pathLst>
              <a:path w="207264" h="64007">
                <a:moveTo>
                  <a:pt x="0" y="0"/>
                </a:moveTo>
                <a:lnTo>
                  <a:pt x="0" y="64007"/>
                </a:lnTo>
                <a:lnTo>
                  <a:pt x="207264" y="64007"/>
                </a:lnTo>
                <a:lnTo>
                  <a:pt x="20726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2528317" y="3110355"/>
            <a:ext cx="208787" cy="704252"/>
          </a:xfrm>
          <a:custGeom>
            <a:avLst/>
            <a:gdLst/>
            <a:ahLst/>
            <a:cxnLst/>
            <a:rect l="l" t="t" r="r" b="b"/>
            <a:pathLst>
              <a:path w="208787" h="940307">
                <a:moveTo>
                  <a:pt x="0" y="0"/>
                </a:moveTo>
                <a:lnTo>
                  <a:pt x="0" y="940307"/>
                </a:lnTo>
                <a:lnTo>
                  <a:pt x="208787" y="940307"/>
                </a:lnTo>
                <a:lnTo>
                  <a:pt x="208787" y="0"/>
                </a:lnTo>
                <a:lnTo>
                  <a:pt x="0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9" name="object 179"/>
          <p:cNvSpPr/>
          <p:nvPr/>
        </p:nvSpPr>
        <p:spPr>
          <a:xfrm>
            <a:off x="3464053" y="3695901"/>
            <a:ext cx="207263" cy="118706"/>
          </a:xfrm>
          <a:custGeom>
            <a:avLst/>
            <a:gdLst/>
            <a:ahLst/>
            <a:cxnLst/>
            <a:rect l="l" t="t" r="r" b="b"/>
            <a:pathLst>
              <a:path w="207263" h="158495">
                <a:moveTo>
                  <a:pt x="0" y="0"/>
                </a:moveTo>
                <a:lnTo>
                  <a:pt x="0" y="158495"/>
                </a:lnTo>
                <a:lnTo>
                  <a:pt x="207263" y="158495"/>
                </a:lnTo>
                <a:lnTo>
                  <a:pt x="20726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0" name="object 180"/>
          <p:cNvSpPr/>
          <p:nvPr/>
        </p:nvSpPr>
        <p:spPr>
          <a:xfrm>
            <a:off x="4398265" y="2688032"/>
            <a:ext cx="208787" cy="1126576"/>
          </a:xfrm>
          <a:custGeom>
            <a:avLst/>
            <a:gdLst/>
            <a:ahLst/>
            <a:cxnLst/>
            <a:rect l="l" t="t" r="r" b="b"/>
            <a:pathLst>
              <a:path w="208787" h="1504187">
                <a:moveTo>
                  <a:pt x="0" y="0"/>
                </a:moveTo>
                <a:lnTo>
                  <a:pt x="0" y="1504187"/>
                </a:lnTo>
                <a:lnTo>
                  <a:pt x="208787" y="1504187"/>
                </a:lnTo>
                <a:lnTo>
                  <a:pt x="208787" y="0"/>
                </a:lnTo>
                <a:lnTo>
                  <a:pt x="0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1" name="object 181"/>
          <p:cNvSpPr/>
          <p:nvPr/>
        </p:nvSpPr>
        <p:spPr>
          <a:xfrm>
            <a:off x="5334001" y="3577194"/>
            <a:ext cx="207263" cy="237414"/>
          </a:xfrm>
          <a:custGeom>
            <a:avLst/>
            <a:gdLst/>
            <a:ahLst/>
            <a:cxnLst/>
            <a:rect l="l" t="t" r="r" b="b"/>
            <a:pathLst>
              <a:path w="207263" h="316991">
                <a:moveTo>
                  <a:pt x="0" y="0"/>
                </a:moveTo>
                <a:lnTo>
                  <a:pt x="0" y="316991"/>
                </a:lnTo>
                <a:lnTo>
                  <a:pt x="207263" y="316991"/>
                </a:lnTo>
                <a:lnTo>
                  <a:pt x="20726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2" name="object 182"/>
          <p:cNvSpPr/>
          <p:nvPr/>
        </p:nvSpPr>
        <p:spPr>
          <a:xfrm>
            <a:off x="6268213" y="2959687"/>
            <a:ext cx="207263" cy="854920"/>
          </a:xfrm>
          <a:custGeom>
            <a:avLst/>
            <a:gdLst/>
            <a:ahLst/>
            <a:cxnLst/>
            <a:rect l="l" t="t" r="r" b="b"/>
            <a:pathLst>
              <a:path w="207263" h="1141476">
                <a:moveTo>
                  <a:pt x="0" y="0"/>
                </a:moveTo>
                <a:lnTo>
                  <a:pt x="0" y="1141476"/>
                </a:lnTo>
                <a:lnTo>
                  <a:pt x="207263" y="1141476"/>
                </a:lnTo>
                <a:lnTo>
                  <a:pt x="20726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3" name="object 183"/>
          <p:cNvSpPr/>
          <p:nvPr/>
        </p:nvSpPr>
        <p:spPr>
          <a:xfrm>
            <a:off x="7202425" y="3484740"/>
            <a:ext cx="208787" cy="329868"/>
          </a:xfrm>
          <a:custGeom>
            <a:avLst/>
            <a:gdLst/>
            <a:ahLst/>
            <a:cxnLst/>
            <a:rect l="l" t="t" r="r" b="b"/>
            <a:pathLst>
              <a:path w="208787" h="440435">
                <a:moveTo>
                  <a:pt x="0" y="0"/>
                </a:moveTo>
                <a:lnTo>
                  <a:pt x="0" y="440435"/>
                </a:lnTo>
                <a:lnTo>
                  <a:pt x="208787" y="440435"/>
                </a:lnTo>
                <a:lnTo>
                  <a:pt x="208787" y="0"/>
                </a:lnTo>
                <a:lnTo>
                  <a:pt x="0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4" name="object 184"/>
          <p:cNvSpPr/>
          <p:nvPr/>
        </p:nvSpPr>
        <p:spPr>
          <a:xfrm>
            <a:off x="8138159" y="1887900"/>
            <a:ext cx="207264" cy="1926707"/>
          </a:xfrm>
          <a:custGeom>
            <a:avLst/>
            <a:gdLst/>
            <a:ahLst/>
            <a:cxnLst/>
            <a:rect l="l" t="t" r="r" b="b"/>
            <a:pathLst>
              <a:path w="207264" h="2572511">
                <a:moveTo>
                  <a:pt x="0" y="0"/>
                </a:moveTo>
                <a:lnTo>
                  <a:pt x="0" y="2572511"/>
                </a:lnTo>
                <a:lnTo>
                  <a:pt x="207264" y="2572511"/>
                </a:lnTo>
                <a:lnTo>
                  <a:pt x="20726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5" name="object 185"/>
          <p:cNvSpPr/>
          <p:nvPr/>
        </p:nvSpPr>
        <p:spPr>
          <a:xfrm>
            <a:off x="1254037" y="3762769"/>
            <a:ext cx="57111" cy="5992"/>
          </a:xfrm>
          <a:custGeom>
            <a:avLst/>
            <a:gdLst/>
            <a:ahLst/>
            <a:cxnLst/>
            <a:rect l="l" t="t" r="r" b="b"/>
            <a:pathLst>
              <a:path w="57111" h="8000">
                <a:moveTo>
                  <a:pt x="28536" y="8000"/>
                </a:moveTo>
                <a:lnTo>
                  <a:pt x="28536" y="0"/>
                </a:lnTo>
                <a:lnTo>
                  <a:pt x="28536" y="8000"/>
                </a:lnTo>
                <a:close/>
              </a:path>
              <a:path w="57111" h="8000">
                <a:moveTo>
                  <a:pt x="0" y="8000"/>
                </a:moveTo>
                <a:lnTo>
                  <a:pt x="57111" y="8000"/>
                </a:lnTo>
              </a:path>
              <a:path w="57111" h="8000">
                <a:moveTo>
                  <a:pt x="0" y="0"/>
                </a:moveTo>
                <a:lnTo>
                  <a:pt x="57111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6" name="object 186"/>
          <p:cNvSpPr/>
          <p:nvPr/>
        </p:nvSpPr>
        <p:spPr>
          <a:xfrm>
            <a:off x="1282573" y="3762769"/>
            <a:ext cx="0" cy="5992"/>
          </a:xfrm>
          <a:custGeom>
            <a:avLst/>
            <a:gdLst/>
            <a:ahLst/>
            <a:cxnLst/>
            <a:rect l="l" t="t" r="r" b="b"/>
            <a:pathLst>
              <a:path h="8000">
                <a:moveTo>
                  <a:pt x="0" y="8000"/>
                </a:moveTo>
                <a:lnTo>
                  <a:pt x="0" y="3936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7" name="object 187"/>
          <p:cNvSpPr/>
          <p:nvPr/>
        </p:nvSpPr>
        <p:spPr>
          <a:xfrm>
            <a:off x="1254037" y="3768761"/>
            <a:ext cx="57111" cy="0"/>
          </a:xfrm>
          <a:custGeom>
            <a:avLst/>
            <a:gdLst/>
            <a:ahLst/>
            <a:cxnLst/>
            <a:rect l="l" t="t" r="r" b="b"/>
            <a:pathLst>
              <a:path w="57111">
                <a:moveTo>
                  <a:pt x="0" y="0"/>
                </a:moveTo>
                <a:lnTo>
                  <a:pt x="57111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8" name="object 188"/>
          <p:cNvSpPr/>
          <p:nvPr/>
        </p:nvSpPr>
        <p:spPr>
          <a:xfrm>
            <a:off x="1254037" y="3762769"/>
            <a:ext cx="57111" cy="0"/>
          </a:xfrm>
          <a:custGeom>
            <a:avLst/>
            <a:gdLst/>
            <a:ahLst/>
            <a:cxnLst/>
            <a:rect l="l" t="t" r="r" b="b"/>
            <a:pathLst>
              <a:path w="57111">
                <a:moveTo>
                  <a:pt x="0" y="0"/>
                </a:moveTo>
                <a:lnTo>
                  <a:pt x="57111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9" name="object 189"/>
          <p:cNvSpPr/>
          <p:nvPr/>
        </p:nvSpPr>
        <p:spPr>
          <a:xfrm>
            <a:off x="2188845" y="3102936"/>
            <a:ext cx="57150" cy="89316"/>
          </a:xfrm>
          <a:custGeom>
            <a:avLst/>
            <a:gdLst/>
            <a:ahLst/>
            <a:cxnLst/>
            <a:rect l="l" t="t" r="r" b="b"/>
            <a:pathLst>
              <a:path w="57150" h="119252">
                <a:moveTo>
                  <a:pt x="28575" y="119252"/>
                </a:moveTo>
                <a:lnTo>
                  <a:pt x="28575" y="0"/>
                </a:lnTo>
                <a:lnTo>
                  <a:pt x="28575" y="119252"/>
                </a:lnTo>
                <a:close/>
              </a:path>
              <a:path w="57150" h="119252">
                <a:moveTo>
                  <a:pt x="0" y="119252"/>
                </a:moveTo>
                <a:lnTo>
                  <a:pt x="57150" y="119252"/>
                </a:lnTo>
              </a:path>
              <a:path w="57150" h="119252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0" name="object 190"/>
          <p:cNvSpPr/>
          <p:nvPr/>
        </p:nvSpPr>
        <p:spPr>
          <a:xfrm>
            <a:off x="2217420" y="3102936"/>
            <a:ext cx="0" cy="89316"/>
          </a:xfrm>
          <a:custGeom>
            <a:avLst/>
            <a:gdLst/>
            <a:ahLst/>
            <a:cxnLst/>
            <a:rect l="l" t="t" r="r" b="b"/>
            <a:pathLst>
              <a:path h="119252">
                <a:moveTo>
                  <a:pt x="0" y="119252"/>
                </a:moveTo>
                <a:lnTo>
                  <a:pt x="0" y="61848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1" name="object 191"/>
          <p:cNvSpPr/>
          <p:nvPr/>
        </p:nvSpPr>
        <p:spPr>
          <a:xfrm>
            <a:off x="2188845" y="3192252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2" name="object 192"/>
          <p:cNvSpPr/>
          <p:nvPr/>
        </p:nvSpPr>
        <p:spPr>
          <a:xfrm>
            <a:off x="2188845" y="3102936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3" name="object 193"/>
          <p:cNvSpPr/>
          <p:nvPr/>
        </p:nvSpPr>
        <p:spPr>
          <a:xfrm>
            <a:off x="3123692" y="3694284"/>
            <a:ext cx="57150" cy="14934"/>
          </a:xfrm>
          <a:custGeom>
            <a:avLst/>
            <a:gdLst/>
            <a:ahLst/>
            <a:cxnLst/>
            <a:rect l="l" t="t" r="r" b="b"/>
            <a:pathLst>
              <a:path w="57150" h="19939">
                <a:moveTo>
                  <a:pt x="28575" y="19939"/>
                </a:moveTo>
                <a:lnTo>
                  <a:pt x="28575" y="0"/>
                </a:lnTo>
                <a:lnTo>
                  <a:pt x="28575" y="19939"/>
                </a:lnTo>
                <a:close/>
              </a:path>
              <a:path w="57150" h="19939">
                <a:moveTo>
                  <a:pt x="0" y="19939"/>
                </a:moveTo>
                <a:lnTo>
                  <a:pt x="57150" y="19939"/>
                </a:lnTo>
              </a:path>
              <a:path w="57150" h="19939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4" name="object 194"/>
          <p:cNvSpPr/>
          <p:nvPr/>
        </p:nvSpPr>
        <p:spPr>
          <a:xfrm>
            <a:off x="3152267" y="3694284"/>
            <a:ext cx="0" cy="14934"/>
          </a:xfrm>
          <a:custGeom>
            <a:avLst/>
            <a:gdLst/>
            <a:ahLst/>
            <a:cxnLst/>
            <a:rect l="l" t="t" r="r" b="b"/>
            <a:pathLst>
              <a:path h="19939">
                <a:moveTo>
                  <a:pt x="0" y="19939"/>
                </a:moveTo>
                <a:lnTo>
                  <a:pt x="0" y="10160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5" name="object 195"/>
          <p:cNvSpPr/>
          <p:nvPr/>
        </p:nvSpPr>
        <p:spPr>
          <a:xfrm>
            <a:off x="3123692" y="3709217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6" name="object 196"/>
          <p:cNvSpPr/>
          <p:nvPr/>
        </p:nvSpPr>
        <p:spPr>
          <a:xfrm>
            <a:off x="3123692" y="3694284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7" name="object 197"/>
          <p:cNvSpPr/>
          <p:nvPr/>
        </p:nvSpPr>
        <p:spPr>
          <a:xfrm>
            <a:off x="4058539" y="2711050"/>
            <a:ext cx="57150" cy="121655"/>
          </a:xfrm>
          <a:custGeom>
            <a:avLst/>
            <a:gdLst/>
            <a:ahLst/>
            <a:cxnLst/>
            <a:rect l="l" t="t" r="r" b="b"/>
            <a:pathLst>
              <a:path w="57150" h="162432">
                <a:moveTo>
                  <a:pt x="28575" y="162433"/>
                </a:moveTo>
                <a:lnTo>
                  <a:pt x="28575" y="0"/>
                </a:lnTo>
                <a:lnTo>
                  <a:pt x="28575" y="162433"/>
                </a:lnTo>
                <a:close/>
              </a:path>
              <a:path w="57150" h="162432">
                <a:moveTo>
                  <a:pt x="0" y="162433"/>
                </a:moveTo>
                <a:lnTo>
                  <a:pt x="57150" y="162433"/>
                </a:lnTo>
              </a:path>
              <a:path w="57150" h="162432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8" name="object 198"/>
          <p:cNvSpPr/>
          <p:nvPr/>
        </p:nvSpPr>
        <p:spPr>
          <a:xfrm>
            <a:off x="4087114" y="2711050"/>
            <a:ext cx="0" cy="121655"/>
          </a:xfrm>
          <a:custGeom>
            <a:avLst/>
            <a:gdLst/>
            <a:ahLst/>
            <a:cxnLst/>
            <a:rect l="l" t="t" r="r" b="b"/>
            <a:pathLst>
              <a:path h="162432">
                <a:moveTo>
                  <a:pt x="0" y="162433"/>
                </a:moveTo>
                <a:lnTo>
                  <a:pt x="0" y="83439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9" name="object 199"/>
          <p:cNvSpPr/>
          <p:nvPr/>
        </p:nvSpPr>
        <p:spPr>
          <a:xfrm>
            <a:off x="4058539" y="2832706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0" name="object 200"/>
          <p:cNvSpPr/>
          <p:nvPr/>
        </p:nvSpPr>
        <p:spPr>
          <a:xfrm>
            <a:off x="4058539" y="2711050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1" name="object 201"/>
          <p:cNvSpPr/>
          <p:nvPr/>
        </p:nvSpPr>
        <p:spPr>
          <a:xfrm>
            <a:off x="4993386" y="3553795"/>
            <a:ext cx="57150" cy="32055"/>
          </a:xfrm>
          <a:custGeom>
            <a:avLst/>
            <a:gdLst/>
            <a:ahLst/>
            <a:cxnLst/>
            <a:rect l="l" t="t" r="r" b="b"/>
            <a:pathLst>
              <a:path w="57150" h="42799">
                <a:moveTo>
                  <a:pt x="28575" y="42799"/>
                </a:moveTo>
                <a:lnTo>
                  <a:pt x="28575" y="0"/>
                </a:lnTo>
                <a:lnTo>
                  <a:pt x="28575" y="42799"/>
                </a:lnTo>
                <a:close/>
              </a:path>
              <a:path w="57150" h="42799">
                <a:moveTo>
                  <a:pt x="0" y="42799"/>
                </a:moveTo>
                <a:lnTo>
                  <a:pt x="57150" y="42799"/>
                </a:lnTo>
              </a:path>
              <a:path w="57150" h="42799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2" name="object 202"/>
          <p:cNvSpPr/>
          <p:nvPr/>
        </p:nvSpPr>
        <p:spPr>
          <a:xfrm>
            <a:off x="5021961" y="3553795"/>
            <a:ext cx="0" cy="32055"/>
          </a:xfrm>
          <a:custGeom>
            <a:avLst/>
            <a:gdLst/>
            <a:ahLst/>
            <a:cxnLst/>
            <a:rect l="l" t="t" r="r" b="b"/>
            <a:pathLst>
              <a:path h="42799">
                <a:moveTo>
                  <a:pt x="0" y="42799"/>
                </a:moveTo>
                <a:lnTo>
                  <a:pt x="0" y="21970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3" name="object 203"/>
          <p:cNvSpPr/>
          <p:nvPr/>
        </p:nvSpPr>
        <p:spPr>
          <a:xfrm>
            <a:off x="4993386" y="3585849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4" name="object 204"/>
          <p:cNvSpPr/>
          <p:nvPr/>
        </p:nvSpPr>
        <p:spPr>
          <a:xfrm>
            <a:off x="4993386" y="3553795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5" name="object 205"/>
          <p:cNvSpPr/>
          <p:nvPr/>
        </p:nvSpPr>
        <p:spPr>
          <a:xfrm>
            <a:off x="5928106" y="2413997"/>
            <a:ext cx="57150" cy="121750"/>
          </a:xfrm>
          <a:custGeom>
            <a:avLst/>
            <a:gdLst/>
            <a:ahLst/>
            <a:cxnLst/>
            <a:rect l="l" t="t" r="r" b="b"/>
            <a:pathLst>
              <a:path w="57150" h="162559">
                <a:moveTo>
                  <a:pt x="28575" y="162559"/>
                </a:moveTo>
                <a:lnTo>
                  <a:pt x="28575" y="0"/>
                </a:lnTo>
                <a:lnTo>
                  <a:pt x="28575" y="162559"/>
                </a:lnTo>
                <a:close/>
              </a:path>
              <a:path w="57150" h="162559">
                <a:moveTo>
                  <a:pt x="0" y="162559"/>
                </a:moveTo>
                <a:lnTo>
                  <a:pt x="57150" y="162559"/>
                </a:lnTo>
              </a:path>
              <a:path w="57150" h="162559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6" name="object 206"/>
          <p:cNvSpPr/>
          <p:nvPr/>
        </p:nvSpPr>
        <p:spPr>
          <a:xfrm>
            <a:off x="5956681" y="2413997"/>
            <a:ext cx="0" cy="121750"/>
          </a:xfrm>
          <a:custGeom>
            <a:avLst/>
            <a:gdLst/>
            <a:ahLst/>
            <a:cxnLst/>
            <a:rect l="l" t="t" r="r" b="b"/>
            <a:pathLst>
              <a:path h="162559">
                <a:moveTo>
                  <a:pt x="0" y="162559"/>
                </a:moveTo>
                <a:lnTo>
                  <a:pt x="0" y="83057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7" name="object 207"/>
          <p:cNvSpPr/>
          <p:nvPr/>
        </p:nvSpPr>
        <p:spPr>
          <a:xfrm>
            <a:off x="5928106" y="2535747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8" name="object 208"/>
          <p:cNvSpPr/>
          <p:nvPr/>
        </p:nvSpPr>
        <p:spPr>
          <a:xfrm>
            <a:off x="5928106" y="2413997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9" name="object 209"/>
          <p:cNvSpPr/>
          <p:nvPr/>
        </p:nvSpPr>
        <p:spPr>
          <a:xfrm>
            <a:off x="6862953" y="3454492"/>
            <a:ext cx="57150" cy="47368"/>
          </a:xfrm>
          <a:custGeom>
            <a:avLst/>
            <a:gdLst/>
            <a:ahLst/>
            <a:cxnLst/>
            <a:rect l="l" t="t" r="r" b="b"/>
            <a:pathLst>
              <a:path w="57150" h="63245">
                <a:moveTo>
                  <a:pt x="28575" y="63245"/>
                </a:moveTo>
                <a:lnTo>
                  <a:pt x="28575" y="0"/>
                </a:lnTo>
                <a:lnTo>
                  <a:pt x="28575" y="63245"/>
                </a:lnTo>
                <a:close/>
              </a:path>
              <a:path w="57150" h="63245">
                <a:moveTo>
                  <a:pt x="0" y="63245"/>
                </a:moveTo>
                <a:lnTo>
                  <a:pt x="57150" y="63245"/>
                </a:lnTo>
              </a:path>
              <a:path w="57150" h="63245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0" name="object 210"/>
          <p:cNvSpPr/>
          <p:nvPr/>
        </p:nvSpPr>
        <p:spPr>
          <a:xfrm>
            <a:off x="6891528" y="3454492"/>
            <a:ext cx="0" cy="47368"/>
          </a:xfrm>
          <a:custGeom>
            <a:avLst/>
            <a:gdLst/>
            <a:ahLst/>
            <a:cxnLst/>
            <a:rect l="l" t="t" r="r" b="b"/>
            <a:pathLst>
              <a:path h="63245">
                <a:moveTo>
                  <a:pt x="0" y="63245"/>
                </a:moveTo>
                <a:lnTo>
                  <a:pt x="0" y="32765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1" name="object 211"/>
          <p:cNvSpPr/>
          <p:nvPr/>
        </p:nvSpPr>
        <p:spPr>
          <a:xfrm>
            <a:off x="6862953" y="3501860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2" name="object 212"/>
          <p:cNvSpPr/>
          <p:nvPr/>
        </p:nvSpPr>
        <p:spPr>
          <a:xfrm>
            <a:off x="6862953" y="3454492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3" name="object 213"/>
          <p:cNvSpPr/>
          <p:nvPr/>
        </p:nvSpPr>
        <p:spPr>
          <a:xfrm>
            <a:off x="7826375" y="1725438"/>
            <a:ext cx="0" cy="192804"/>
          </a:xfrm>
          <a:custGeom>
            <a:avLst/>
            <a:gdLst/>
            <a:ahLst/>
            <a:cxnLst/>
            <a:rect l="l" t="t" r="r" b="b"/>
            <a:pathLst>
              <a:path h="257429">
                <a:moveTo>
                  <a:pt x="0" y="257429"/>
                </a:moveTo>
                <a:lnTo>
                  <a:pt x="0" y="0"/>
                </a:lnTo>
                <a:lnTo>
                  <a:pt x="0" y="257429"/>
                </a:lnTo>
                <a:close/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4" name="object 214"/>
          <p:cNvSpPr/>
          <p:nvPr/>
        </p:nvSpPr>
        <p:spPr>
          <a:xfrm>
            <a:off x="7797800" y="1918243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5" name="object 215"/>
          <p:cNvSpPr/>
          <p:nvPr/>
        </p:nvSpPr>
        <p:spPr>
          <a:xfrm>
            <a:off x="7797800" y="1725438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6" name="object 216"/>
          <p:cNvSpPr/>
          <p:nvPr/>
        </p:nvSpPr>
        <p:spPr>
          <a:xfrm>
            <a:off x="7826375" y="1725438"/>
            <a:ext cx="0" cy="192804"/>
          </a:xfrm>
          <a:custGeom>
            <a:avLst/>
            <a:gdLst/>
            <a:ahLst/>
            <a:cxnLst/>
            <a:rect l="l" t="t" r="r" b="b"/>
            <a:pathLst>
              <a:path h="257429">
                <a:moveTo>
                  <a:pt x="0" y="257429"/>
                </a:moveTo>
                <a:lnTo>
                  <a:pt x="0" y="131572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7" name="object 217"/>
          <p:cNvSpPr/>
          <p:nvPr/>
        </p:nvSpPr>
        <p:spPr>
          <a:xfrm>
            <a:off x="7797800" y="1918243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8" name="object 218"/>
          <p:cNvSpPr/>
          <p:nvPr/>
        </p:nvSpPr>
        <p:spPr>
          <a:xfrm>
            <a:off x="7797800" y="1725438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9" name="object 219"/>
          <p:cNvSpPr/>
          <p:nvPr/>
        </p:nvSpPr>
        <p:spPr>
          <a:xfrm>
            <a:off x="1461770" y="3757157"/>
            <a:ext cx="57150" cy="10558"/>
          </a:xfrm>
          <a:custGeom>
            <a:avLst/>
            <a:gdLst/>
            <a:ahLst/>
            <a:cxnLst/>
            <a:rect l="l" t="t" r="r" b="b"/>
            <a:pathLst>
              <a:path w="57150" h="14097">
                <a:moveTo>
                  <a:pt x="28575" y="14097"/>
                </a:moveTo>
                <a:lnTo>
                  <a:pt x="28575" y="0"/>
                </a:lnTo>
                <a:lnTo>
                  <a:pt x="28575" y="14097"/>
                </a:lnTo>
                <a:close/>
              </a:path>
              <a:path w="57150" h="14097">
                <a:moveTo>
                  <a:pt x="0" y="14097"/>
                </a:moveTo>
                <a:lnTo>
                  <a:pt x="57150" y="14097"/>
                </a:lnTo>
              </a:path>
              <a:path w="57150" h="14097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0" name="object 220"/>
          <p:cNvSpPr/>
          <p:nvPr/>
        </p:nvSpPr>
        <p:spPr>
          <a:xfrm>
            <a:off x="1490345" y="3757157"/>
            <a:ext cx="0" cy="10558"/>
          </a:xfrm>
          <a:custGeom>
            <a:avLst/>
            <a:gdLst/>
            <a:ahLst/>
            <a:cxnLst/>
            <a:rect l="l" t="t" r="r" b="b"/>
            <a:pathLst>
              <a:path h="14097">
                <a:moveTo>
                  <a:pt x="0" y="14097"/>
                </a:moveTo>
                <a:lnTo>
                  <a:pt x="0" y="7493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1" name="object 221"/>
          <p:cNvSpPr/>
          <p:nvPr/>
        </p:nvSpPr>
        <p:spPr>
          <a:xfrm>
            <a:off x="1461770" y="3767715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2" name="object 222"/>
          <p:cNvSpPr/>
          <p:nvPr/>
        </p:nvSpPr>
        <p:spPr>
          <a:xfrm>
            <a:off x="1461770" y="3757157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3" name="object 223"/>
          <p:cNvSpPr/>
          <p:nvPr/>
        </p:nvSpPr>
        <p:spPr>
          <a:xfrm>
            <a:off x="2396617" y="3002111"/>
            <a:ext cx="57150" cy="169976"/>
          </a:xfrm>
          <a:custGeom>
            <a:avLst/>
            <a:gdLst/>
            <a:ahLst/>
            <a:cxnLst/>
            <a:rect l="l" t="t" r="r" b="b"/>
            <a:pathLst>
              <a:path w="57150" h="226949">
                <a:moveTo>
                  <a:pt x="28575" y="226949"/>
                </a:moveTo>
                <a:lnTo>
                  <a:pt x="28575" y="0"/>
                </a:lnTo>
                <a:lnTo>
                  <a:pt x="28575" y="226949"/>
                </a:lnTo>
                <a:close/>
              </a:path>
              <a:path w="57150" h="226949">
                <a:moveTo>
                  <a:pt x="0" y="226949"/>
                </a:moveTo>
                <a:lnTo>
                  <a:pt x="57150" y="226949"/>
                </a:lnTo>
              </a:path>
              <a:path w="57150" h="226949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4" name="object 224"/>
          <p:cNvSpPr/>
          <p:nvPr/>
        </p:nvSpPr>
        <p:spPr>
          <a:xfrm>
            <a:off x="2425192" y="3002111"/>
            <a:ext cx="0" cy="169976"/>
          </a:xfrm>
          <a:custGeom>
            <a:avLst/>
            <a:gdLst/>
            <a:ahLst/>
            <a:cxnLst/>
            <a:rect l="l" t="t" r="r" b="b"/>
            <a:pathLst>
              <a:path h="226949">
                <a:moveTo>
                  <a:pt x="0" y="226949"/>
                </a:moveTo>
                <a:lnTo>
                  <a:pt x="0" y="120014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5" name="object 225"/>
          <p:cNvSpPr/>
          <p:nvPr/>
        </p:nvSpPr>
        <p:spPr>
          <a:xfrm>
            <a:off x="2396617" y="3172087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6" name="object 226"/>
          <p:cNvSpPr/>
          <p:nvPr/>
        </p:nvSpPr>
        <p:spPr>
          <a:xfrm>
            <a:off x="2396617" y="3002111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7" name="object 227"/>
          <p:cNvSpPr/>
          <p:nvPr/>
        </p:nvSpPr>
        <p:spPr>
          <a:xfrm>
            <a:off x="3331464" y="3673167"/>
            <a:ext cx="57150" cy="28440"/>
          </a:xfrm>
          <a:custGeom>
            <a:avLst/>
            <a:gdLst/>
            <a:ahLst/>
            <a:cxnLst/>
            <a:rect l="l" t="t" r="r" b="b"/>
            <a:pathLst>
              <a:path w="57150" h="37973">
                <a:moveTo>
                  <a:pt x="28575" y="37973"/>
                </a:moveTo>
                <a:lnTo>
                  <a:pt x="28575" y="0"/>
                </a:lnTo>
                <a:lnTo>
                  <a:pt x="28575" y="37973"/>
                </a:lnTo>
                <a:close/>
              </a:path>
              <a:path w="57150" h="37973">
                <a:moveTo>
                  <a:pt x="0" y="37973"/>
                </a:moveTo>
                <a:lnTo>
                  <a:pt x="57150" y="37973"/>
                </a:lnTo>
              </a:path>
              <a:path w="57150" h="37973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8" name="object 228"/>
          <p:cNvSpPr/>
          <p:nvPr/>
        </p:nvSpPr>
        <p:spPr>
          <a:xfrm>
            <a:off x="3360039" y="3673167"/>
            <a:ext cx="0" cy="28440"/>
          </a:xfrm>
          <a:custGeom>
            <a:avLst/>
            <a:gdLst/>
            <a:ahLst/>
            <a:cxnLst/>
            <a:rect l="l" t="t" r="r" b="b"/>
            <a:pathLst>
              <a:path h="37973">
                <a:moveTo>
                  <a:pt x="0" y="37973"/>
                </a:moveTo>
                <a:lnTo>
                  <a:pt x="0" y="20320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9" name="object 229"/>
          <p:cNvSpPr/>
          <p:nvPr/>
        </p:nvSpPr>
        <p:spPr>
          <a:xfrm>
            <a:off x="3331464" y="3701608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0" name="object 230"/>
          <p:cNvSpPr/>
          <p:nvPr/>
        </p:nvSpPr>
        <p:spPr>
          <a:xfrm>
            <a:off x="3331464" y="3673167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1" name="object 231"/>
          <p:cNvSpPr/>
          <p:nvPr/>
        </p:nvSpPr>
        <p:spPr>
          <a:xfrm>
            <a:off x="4294886" y="2718660"/>
            <a:ext cx="0" cy="208023"/>
          </a:xfrm>
          <a:custGeom>
            <a:avLst/>
            <a:gdLst/>
            <a:ahLst/>
            <a:cxnLst/>
            <a:rect l="l" t="t" r="r" b="b"/>
            <a:pathLst>
              <a:path h="277749">
                <a:moveTo>
                  <a:pt x="0" y="277749"/>
                </a:moveTo>
                <a:lnTo>
                  <a:pt x="0" y="0"/>
                </a:lnTo>
                <a:lnTo>
                  <a:pt x="0" y="277749"/>
                </a:lnTo>
                <a:close/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2" name="object 232"/>
          <p:cNvSpPr/>
          <p:nvPr/>
        </p:nvSpPr>
        <p:spPr>
          <a:xfrm>
            <a:off x="4266311" y="2926682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3" name="object 233"/>
          <p:cNvSpPr/>
          <p:nvPr/>
        </p:nvSpPr>
        <p:spPr>
          <a:xfrm>
            <a:off x="4266311" y="2718660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4" name="object 234"/>
          <p:cNvSpPr/>
          <p:nvPr/>
        </p:nvSpPr>
        <p:spPr>
          <a:xfrm>
            <a:off x="4294886" y="2718660"/>
            <a:ext cx="0" cy="208023"/>
          </a:xfrm>
          <a:custGeom>
            <a:avLst/>
            <a:gdLst/>
            <a:ahLst/>
            <a:cxnLst/>
            <a:rect l="l" t="t" r="r" b="b"/>
            <a:pathLst>
              <a:path h="277749">
                <a:moveTo>
                  <a:pt x="0" y="277749"/>
                </a:moveTo>
                <a:lnTo>
                  <a:pt x="0" y="146177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5" name="object 235"/>
          <p:cNvSpPr/>
          <p:nvPr/>
        </p:nvSpPr>
        <p:spPr>
          <a:xfrm>
            <a:off x="4266311" y="2926682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6" name="object 236"/>
          <p:cNvSpPr/>
          <p:nvPr/>
        </p:nvSpPr>
        <p:spPr>
          <a:xfrm>
            <a:off x="4266311" y="2718660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7" name="object 237"/>
          <p:cNvSpPr/>
          <p:nvPr/>
        </p:nvSpPr>
        <p:spPr>
          <a:xfrm>
            <a:off x="5201031" y="3540478"/>
            <a:ext cx="57150" cy="57261"/>
          </a:xfrm>
          <a:custGeom>
            <a:avLst/>
            <a:gdLst/>
            <a:ahLst/>
            <a:cxnLst/>
            <a:rect l="l" t="t" r="r" b="b"/>
            <a:pathLst>
              <a:path w="57150" h="76453">
                <a:moveTo>
                  <a:pt x="28575" y="76453"/>
                </a:moveTo>
                <a:lnTo>
                  <a:pt x="28575" y="0"/>
                </a:lnTo>
                <a:lnTo>
                  <a:pt x="28575" y="76453"/>
                </a:lnTo>
                <a:close/>
              </a:path>
              <a:path w="57150" h="76453">
                <a:moveTo>
                  <a:pt x="0" y="76453"/>
                </a:moveTo>
                <a:lnTo>
                  <a:pt x="57150" y="76453"/>
                </a:lnTo>
              </a:path>
              <a:path w="57150" h="76453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8" name="object 238"/>
          <p:cNvSpPr/>
          <p:nvPr/>
        </p:nvSpPr>
        <p:spPr>
          <a:xfrm>
            <a:off x="5229606" y="3540478"/>
            <a:ext cx="0" cy="57261"/>
          </a:xfrm>
          <a:custGeom>
            <a:avLst/>
            <a:gdLst/>
            <a:ahLst/>
            <a:cxnLst/>
            <a:rect l="l" t="t" r="r" b="b"/>
            <a:pathLst>
              <a:path h="76453">
                <a:moveTo>
                  <a:pt x="0" y="76453"/>
                </a:moveTo>
                <a:lnTo>
                  <a:pt x="0" y="40639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9" name="object 239"/>
          <p:cNvSpPr/>
          <p:nvPr/>
        </p:nvSpPr>
        <p:spPr>
          <a:xfrm>
            <a:off x="5201031" y="3597739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0" name="object 240"/>
          <p:cNvSpPr/>
          <p:nvPr/>
        </p:nvSpPr>
        <p:spPr>
          <a:xfrm>
            <a:off x="5201031" y="3540478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1" name="object 241"/>
          <p:cNvSpPr/>
          <p:nvPr/>
        </p:nvSpPr>
        <p:spPr>
          <a:xfrm>
            <a:off x="6135878" y="2614790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2" name="object 242"/>
          <p:cNvSpPr/>
          <p:nvPr/>
        </p:nvSpPr>
        <p:spPr>
          <a:xfrm>
            <a:off x="6135878" y="2400110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3" name="object 243"/>
          <p:cNvSpPr/>
          <p:nvPr/>
        </p:nvSpPr>
        <p:spPr>
          <a:xfrm>
            <a:off x="6164453" y="2400110"/>
            <a:ext cx="0" cy="214680"/>
          </a:xfrm>
          <a:custGeom>
            <a:avLst/>
            <a:gdLst/>
            <a:ahLst/>
            <a:cxnLst/>
            <a:rect l="l" t="t" r="r" b="b"/>
            <a:pathLst>
              <a:path h="286638">
                <a:moveTo>
                  <a:pt x="0" y="286638"/>
                </a:moveTo>
                <a:lnTo>
                  <a:pt x="0" y="149351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4" name="object 244"/>
          <p:cNvSpPr/>
          <p:nvPr/>
        </p:nvSpPr>
        <p:spPr>
          <a:xfrm>
            <a:off x="6135878" y="2614790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5" name="object 245"/>
          <p:cNvSpPr/>
          <p:nvPr/>
        </p:nvSpPr>
        <p:spPr>
          <a:xfrm>
            <a:off x="6135878" y="2400110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6" name="object 246"/>
          <p:cNvSpPr/>
          <p:nvPr/>
        </p:nvSpPr>
        <p:spPr>
          <a:xfrm>
            <a:off x="7070725" y="3437656"/>
            <a:ext cx="57150" cy="81326"/>
          </a:xfrm>
          <a:custGeom>
            <a:avLst/>
            <a:gdLst/>
            <a:ahLst/>
            <a:cxnLst/>
            <a:rect l="l" t="t" r="r" b="b"/>
            <a:pathLst>
              <a:path w="57150" h="108585">
                <a:moveTo>
                  <a:pt x="28575" y="108585"/>
                </a:moveTo>
                <a:lnTo>
                  <a:pt x="28575" y="0"/>
                </a:lnTo>
                <a:lnTo>
                  <a:pt x="28575" y="108585"/>
                </a:lnTo>
                <a:close/>
              </a:path>
              <a:path w="57150" h="108585">
                <a:moveTo>
                  <a:pt x="0" y="108585"/>
                </a:moveTo>
                <a:lnTo>
                  <a:pt x="57150" y="108585"/>
                </a:lnTo>
              </a:path>
              <a:path w="57150" h="108585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7" name="object 247"/>
          <p:cNvSpPr/>
          <p:nvPr/>
        </p:nvSpPr>
        <p:spPr>
          <a:xfrm>
            <a:off x="7099300" y="3437656"/>
            <a:ext cx="0" cy="81326"/>
          </a:xfrm>
          <a:custGeom>
            <a:avLst/>
            <a:gdLst/>
            <a:ahLst/>
            <a:cxnLst/>
            <a:rect l="l" t="t" r="r" b="b"/>
            <a:pathLst>
              <a:path h="108585">
                <a:moveTo>
                  <a:pt x="0" y="108585"/>
                </a:moveTo>
                <a:lnTo>
                  <a:pt x="0" y="57404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8" name="object 248"/>
          <p:cNvSpPr/>
          <p:nvPr/>
        </p:nvSpPr>
        <p:spPr>
          <a:xfrm>
            <a:off x="7070725" y="3518982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9" name="object 249"/>
          <p:cNvSpPr/>
          <p:nvPr/>
        </p:nvSpPr>
        <p:spPr>
          <a:xfrm>
            <a:off x="7070725" y="3437656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0" name="object 250"/>
          <p:cNvSpPr/>
          <p:nvPr/>
        </p:nvSpPr>
        <p:spPr>
          <a:xfrm>
            <a:off x="8005572" y="2651792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1" name="object 251"/>
          <p:cNvSpPr/>
          <p:nvPr/>
        </p:nvSpPr>
        <p:spPr>
          <a:xfrm>
            <a:off x="8005572" y="2407719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2" name="object 252"/>
          <p:cNvSpPr/>
          <p:nvPr/>
        </p:nvSpPr>
        <p:spPr>
          <a:xfrm>
            <a:off x="8034147" y="2407719"/>
            <a:ext cx="0" cy="244073"/>
          </a:xfrm>
          <a:custGeom>
            <a:avLst/>
            <a:gdLst/>
            <a:ahLst/>
            <a:cxnLst/>
            <a:rect l="l" t="t" r="r" b="b"/>
            <a:pathLst>
              <a:path h="325882">
                <a:moveTo>
                  <a:pt x="0" y="325882"/>
                </a:moveTo>
                <a:lnTo>
                  <a:pt x="0" y="170941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3" name="object 253"/>
          <p:cNvSpPr/>
          <p:nvPr/>
        </p:nvSpPr>
        <p:spPr>
          <a:xfrm>
            <a:off x="8005572" y="2651792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4" name="object 254"/>
          <p:cNvSpPr/>
          <p:nvPr/>
        </p:nvSpPr>
        <p:spPr>
          <a:xfrm>
            <a:off x="8005572" y="2407719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5" name="object 255"/>
          <p:cNvSpPr/>
          <p:nvPr/>
        </p:nvSpPr>
        <p:spPr>
          <a:xfrm>
            <a:off x="1669542" y="3761437"/>
            <a:ext cx="57150" cy="10273"/>
          </a:xfrm>
          <a:custGeom>
            <a:avLst/>
            <a:gdLst/>
            <a:ahLst/>
            <a:cxnLst/>
            <a:rect l="l" t="t" r="r" b="b"/>
            <a:pathLst>
              <a:path w="57150" h="13715">
                <a:moveTo>
                  <a:pt x="28575" y="13716"/>
                </a:moveTo>
                <a:lnTo>
                  <a:pt x="28575" y="0"/>
                </a:lnTo>
                <a:lnTo>
                  <a:pt x="28575" y="13716"/>
                </a:lnTo>
                <a:close/>
              </a:path>
              <a:path w="57150" h="13715">
                <a:moveTo>
                  <a:pt x="0" y="13716"/>
                </a:moveTo>
                <a:lnTo>
                  <a:pt x="57150" y="13716"/>
                </a:lnTo>
              </a:path>
              <a:path w="57150" h="13715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6" name="object 256"/>
          <p:cNvSpPr/>
          <p:nvPr/>
        </p:nvSpPr>
        <p:spPr>
          <a:xfrm>
            <a:off x="1698117" y="3761437"/>
            <a:ext cx="0" cy="10273"/>
          </a:xfrm>
          <a:custGeom>
            <a:avLst/>
            <a:gdLst/>
            <a:ahLst/>
            <a:cxnLst/>
            <a:rect l="l" t="t" r="r" b="b"/>
            <a:pathLst>
              <a:path h="13715">
                <a:moveTo>
                  <a:pt x="0" y="13716"/>
                </a:moveTo>
                <a:lnTo>
                  <a:pt x="0" y="7112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7" name="object 257"/>
          <p:cNvSpPr/>
          <p:nvPr/>
        </p:nvSpPr>
        <p:spPr>
          <a:xfrm>
            <a:off x="1669542" y="3771710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8" name="object 258"/>
          <p:cNvSpPr/>
          <p:nvPr/>
        </p:nvSpPr>
        <p:spPr>
          <a:xfrm>
            <a:off x="1669542" y="3761437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9" name="object 259"/>
          <p:cNvSpPr/>
          <p:nvPr/>
        </p:nvSpPr>
        <p:spPr>
          <a:xfrm>
            <a:off x="2604389" y="3014286"/>
            <a:ext cx="57150" cy="179582"/>
          </a:xfrm>
          <a:custGeom>
            <a:avLst/>
            <a:gdLst/>
            <a:ahLst/>
            <a:cxnLst/>
            <a:rect l="l" t="t" r="r" b="b"/>
            <a:pathLst>
              <a:path w="57150" h="239775">
                <a:moveTo>
                  <a:pt x="28575" y="239776"/>
                </a:moveTo>
                <a:lnTo>
                  <a:pt x="28575" y="0"/>
                </a:lnTo>
                <a:lnTo>
                  <a:pt x="28575" y="239776"/>
                </a:lnTo>
                <a:close/>
              </a:path>
              <a:path w="57150" h="239775">
                <a:moveTo>
                  <a:pt x="0" y="239776"/>
                </a:moveTo>
                <a:lnTo>
                  <a:pt x="57150" y="239776"/>
                </a:lnTo>
              </a:path>
              <a:path w="57150" h="239775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0" name="object 260"/>
          <p:cNvSpPr/>
          <p:nvPr/>
        </p:nvSpPr>
        <p:spPr>
          <a:xfrm>
            <a:off x="2632964" y="3014286"/>
            <a:ext cx="0" cy="179582"/>
          </a:xfrm>
          <a:custGeom>
            <a:avLst/>
            <a:gdLst/>
            <a:ahLst/>
            <a:cxnLst/>
            <a:rect l="l" t="t" r="r" b="b"/>
            <a:pathLst>
              <a:path h="239775">
                <a:moveTo>
                  <a:pt x="0" y="239776"/>
                </a:moveTo>
                <a:lnTo>
                  <a:pt x="0" y="127635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1" name="object 261"/>
          <p:cNvSpPr/>
          <p:nvPr/>
        </p:nvSpPr>
        <p:spPr>
          <a:xfrm>
            <a:off x="2604389" y="3193869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2" name="object 262"/>
          <p:cNvSpPr/>
          <p:nvPr/>
        </p:nvSpPr>
        <p:spPr>
          <a:xfrm>
            <a:off x="2604389" y="3014285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3" name="object 263"/>
          <p:cNvSpPr/>
          <p:nvPr/>
        </p:nvSpPr>
        <p:spPr>
          <a:xfrm>
            <a:off x="3539109" y="3681063"/>
            <a:ext cx="57150" cy="28821"/>
          </a:xfrm>
          <a:custGeom>
            <a:avLst/>
            <a:gdLst/>
            <a:ahLst/>
            <a:cxnLst/>
            <a:rect l="l" t="t" r="r" b="b"/>
            <a:pathLst>
              <a:path w="57150" h="38480">
                <a:moveTo>
                  <a:pt x="28575" y="38481"/>
                </a:moveTo>
                <a:lnTo>
                  <a:pt x="28575" y="0"/>
                </a:lnTo>
                <a:lnTo>
                  <a:pt x="28575" y="38481"/>
                </a:lnTo>
                <a:close/>
              </a:path>
              <a:path w="57150" h="38480">
                <a:moveTo>
                  <a:pt x="0" y="38481"/>
                </a:moveTo>
                <a:lnTo>
                  <a:pt x="57150" y="38481"/>
                </a:lnTo>
              </a:path>
              <a:path w="57150" h="3848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4" name="object 264"/>
          <p:cNvSpPr/>
          <p:nvPr/>
        </p:nvSpPr>
        <p:spPr>
          <a:xfrm>
            <a:off x="3567684" y="3681063"/>
            <a:ext cx="0" cy="28821"/>
          </a:xfrm>
          <a:custGeom>
            <a:avLst/>
            <a:gdLst/>
            <a:ahLst/>
            <a:cxnLst/>
            <a:rect l="l" t="t" r="r" b="b"/>
            <a:pathLst>
              <a:path h="38480">
                <a:moveTo>
                  <a:pt x="0" y="38481"/>
                </a:moveTo>
                <a:lnTo>
                  <a:pt x="0" y="20319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5" name="object 265"/>
          <p:cNvSpPr/>
          <p:nvPr/>
        </p:nvSpPr>
        <p:spPr>
          <a:xfrm>
            <a:off x="3539109" y="3709883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6" name="object 266"/>
          <p:cNvSpPr/>
          <p:nvPr/>
        </p:nvSpPr>
        <p:spPr>
          <a:xfrm>
            <a:off x="3539109" y="3681062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7" name="object 267"/>
          <p:cNvSpPr/>
          <p:nvPr/>
        </p:nvSpPr>
        <p:spPr>
          <a:xfrm>
            <a:off x="4473956" y="2807975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8" name="object 268"/>
          <p:cNvSpPr/>
          <p:nvPr/>
        </p:nvSpPr>
        <p:spPr>
          <a:xfrm>
            <a:off x="4473956" y="2554581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69" name="object 269"/>
          <p:cNvSpPr/>
          <p:nvPr/>
        </p:nvSpPr>
        <p:spPr>
          <a:xfrm>
            <a:off x="4502531" y="2554581"/>
            <a:ext cx="0" cy="253394"/>
          </a:xfrm>
          <a:custGeom>
            <a:avLst/>
            <a:gdLst/>
            <a:ahLst/>
            <a:cxnLst/>
            <a:rect l="l" t="t" r="r" b="b"/>
            <a:pathLst>
              <a:path h="338328">
                <a:moveTo>
                  <a:pt x="0" y="338328"/>
                </a:moveTo>
                <a:lnTo>
                  <a:pt x="0" y="178815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70" name="object 270"/>
          <p:cNvSpPr/>
          <p:nvPr/>
        </p:nvSpPr>
        <p:spPr>
          <a:xfrm>
            <a:off x="4473956" y="2807975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71" name="object 271"/>
          <p:cNvSpPr/>
          <p:nvPr/>
        </p:nvSpPr>
        <p:spPr>
          <a:xfrm>
            <a:off x="4473956" y="2554581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72" name="object 272"/>
          <p:cNvSpPr/>
          <p:nvPr/>
        </p:nvSpPr>
        <p:spPr>
          <a:xfrm>
            <a:off x="5408803" y="3546471"/>
            <a:ext cx="57150" cy="58212"/>
          </a:xfrm>
          <a:custGeom>
            <a:avLst/>
            <a:gdLst/>
            <a:ahLst/>
            <a:cxnLst/>
            <a:rect l="l" t="t" r="r" b="b"/>
            <a:pathLst>
              <a:path w="57150" h="77724">
                <a:moveTo>
                  <a:pt x="28575" y="77723"/>
                </a:moveTo>
                <a:lnTo>
                  <a:pt x="28575" y="0"/>
                </a:lnTo>
                <a:lnTo>
                  <a:pt x="28575" y="77723"/>
                </a:lnTo>
                <a:close/>
              </a:path>
              <a:path w="57150" h="77724">
                <a:moveTo>
                  <a:pt x="0" y="77723"/>
                </a:moveTo>
                <a:lnTo>
                  <a:pt x="57150" y="77723"/>
                </a:lnTo>
              </a:path>
              <a:path w="57150" h="77724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73" name="object 273"/>
          <p:cNvSpPr/>
          <p:nvPr/>
        </p:nvSpPr>
        <p:spPr>
          <a:xfrm>
            <a:off x="5437378" y="3546471"/>
            <a:ext cx="0" cy="58212"/>
          </a:xfrm>
          <a:custGeom>
            <a:avLst/>
            <a:gdLst/>
            <a:ahLst/>
            <a:cxnLst/>
            <a:rect l="l" t="t" r="r" b="b"/>
            <a:pathLst>
              <a:path h="77724">
                <a:moveTo>
                  <a:pt x="0" y="77723"/>
                </a:moveTo>
                <a:lnTo>
                  <a:pt x="0" y="41020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74" name="object 274"/>
          <p:cNvSpPr/>
          <p:nvPr/>
        </p:nvSpPr>
        <p:spPr>
          <a:xfrm>
            <a:off x="5408803" y="3604683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75" name="object 275"/>
          <p:cNvSpPr/>
          <p:nvPr/>
        </p:nvSpPr>
        <p:spPr>
          <a:xfrm>
            <a:off x="5408803" y="3546471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76" name="object 276"/>
          <p:cNvSpPr/>
          <p:nvPr/>
        </p:nvSpPr>
        <p:spPr>
          <a:xfrm>
            <a:off x="6343650" y="2872465"/>
            <a:ext cx="57150" cy="165980"/>
          </a:xfrm>
          <a:custGeom>
            <a:avLst/>
            <a:gdLst/>
            <a:ahLst/>
            <a:cxnLst/>
            <a:rect l="l" t="t" r="r" b="b"/>
            <a:pathLst>
              <a:path w="57150" h="221614">
                <a:moveTo>
                  <a:pt x="28575" y="221614"/>
                </a:moveTo>
                <a:lnTo>
                  <a:pt x="28575" y="0"/>
                </a:lnTo>
                <a:lnTo>
                  <a:pt x="28575" y="221614"/>
                </a:lnTo>
                <a:close/>
              </a:path>
              <a:path w="57150" h="221614">
                <a:moveTo>
                  <a:pt x="0" y="221614"/>
                </a:moveTo>
                <a:lnTo>
                  <a:pt x="57150" y="221614"/>
                </a:lnTo>
              </a:path>
              <a:path w="57150" h="221614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77" name="object 277"/>
          <p:cNvSpPr/>
          <p:nvPr/>
        </p:nvSpPr>
        <p:spPr>
          <a:xfrm>
            <a:off x="6372225" y="2872465"/>
            <a:ext cx="0" cy="165980"/>
          </a:xfrm>
          <a:custGeom>
            <a:avLst/>
            <a:gdLst/>
            <a:ahLst/>
            <a:cxnLst/>
            <a:rect l="l" t="t" r="r" b="b"/>
            <a:pathLst>
              <a:path h="221614">
                <a:moveTo>
                  <a:pt x="0" y="221614"/>
                </a:moveTo>
                <a:lnTo>
                  <a:pt x="0" y="116077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78" name="object 278"/>
          <p:cNvSpPr/>
          <p:nvPr/>
        </p:nvSpPr>
        <p:spPr>
          <a:xfrm>
            <a:off x="6343650" y="3038446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79" name="object 279"/>
          <p:cNvSpPr/>
          <p:nvPr/>
        </p:nvSpPr>
        <p:spPr>
          <a:xfrm>
            <a:off x="6343650" y="2872465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0" name="object 280"/>
          <p:cNvSpPr/>
          <p:nvPr/>
        </p:nvSpPr>
        <p:spPr>
          <a:xfrm>
            <a:off x="7278497" y="3438987"/>
            <a:ext cx="57150" cy="85320"/>
          </a:xfrm>
          <a:custGeom>
            <a:avLst/>
            <a:gdLst/>
            <a:ahLst/>
            <a:cxnLst/>
            <a:rect l="l" t="t" r="r" b="b"/>
            <a:pathLst>
              <a:path w="57150" h="113918">
                <a:moveTo>
                  <a:pt x="28575" y="113918"/>
                </a:moveTo>
                <a:lnTo>
                  <a:pt x="28575" y="0"/>
                </a:lnTo>
                <a:lnTo>
                  <a:pt x="28575" y="113918"/>
                </a:lnTo>
                <a:close/>
              </a:path>
              <a:path w="57150" h="113918">
                <a:moveTo>
                  <a:pt x="0" y="113918"/>
                </a:moveTo>
                <a:lnTo>
                  <a:pt x="57150" y="113918"/>
                </a:lnTo>
              </a:path>
              <a:path w="57150" h="113918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1" name="object 281"/>
          <p:cNvSpPr/>
          <p:nvPr/>
        </p:nvSpPr>
        <p:spPr>
          <a:xfrm>
            <a:off x="7307072" y="3438987"/>
            <a:ext cx="0" cy="85320"/>
          </a:xfrm>
          <a:custGeom>
            <a:avLst/>
            <a:gdLst/>
            <a:ahLst/>
            <a:cxnLst/>
            <a:rect l="l" t="t" r="r" b="b"/>
            <a:pathLst>
              <a:path h="113918">
                <a:moveTo>
                  <a:pt x="0" y="113918"/>
                </a:moveTo>
                <a:lnTo>
                  <a:pt x="0" y="60451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2" name="object 282"/>
          <p:cNvSpPr/>
          <p:nvPr/>
        </p:nvSpPr>
        <p:spPr>
          <a:xfrm>
            <a:off x="7278497" y="3524308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3" name="object 283"/>
          <p:cNvSpPr/>
          <p:nvPr/>
        </p:nvSpPr>
        <p:spPr>
          <a:xfrm>
            <a:off x="7278497" y="3438987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4" name="object 284"/>
          <p:cNvSpPr/>
          <p:nvPr/>
        </p:nvSpPr>
        <p:spPr>
          <a:xfrm>
            <a:off x="8213344" y="2046271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5" name="object 285"/>
          <p:cNvSpPr/>
          <p:nvPr/>
        </p:nvSpPr>
        <p:spPr>
          <a:xfrm>
            <a:off x="8213344" y="1715166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6" name="object 286"/>
          <p:cNvSpPr/>
          <p:nvPr/>
        </p:nvSpPr>
        <p:spPr>
          <a:xfrm>
            <a:off x="8241919" y="1715166"/>
            <a:ext cx="0" cy="331105"/>
          </a:xfrm>
          <a:custGeom>
            <a:avLst/>
            <a:gdLst/>
            <a:ahLst/>
            <a:cxnLst/>
            <a:rect l="l" t="t" r="r" b="b"/>
            <a:pathLst>
              <a:path h="442087">
                <a:moveTo>
                  <a:pt x="0" y="442087"/>
                </a:moveTo>
                <a:lnTo>
                  <a:pt x="0" y="230505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7" name="object 287"/>
          <p:cNvSpPr/>
          <p:nvPr/>
        </p:nvSpPr>
        <p:spPr>
          <a:xfrm>
            <a:off x="8213344" y="2046271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8" name="object 288"/>
          <p:cNvSpPr/>
          <p:nvPr/>
        </p:nvSpPr>
        <p:spPr>
          <a:xfrm>
            <a:off x="8213344" y="1715166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9" name="object 289"/>
          <p:cNvSpPr/>
          <p:nvPr/>
        </p:nvSpPr>
        <p:spPr>
          <a:xfrm>
            <a:off x="1022604" y="1498678"/>
            <a:ext cx="0" cy="2315930"/>
          </a:xfrm>
          <a:custGeom>
            <a:avLst/>
            <a:gdLst/>
            <a:ahLst/>
            <a:cxnLst/>
            <a:rect l="l" t="t" r="r" b="b"/>
            <a:pathLst>
              <a:path h="3092195">
                <a:moveTo>
                  <a:pt x="0" y="3092196"/>
                </a:moveTo>
                <a:lnTo>
                  <a:pt x="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90" name="object 290"/>
          <p:cNvSpPr/>
          <p:nvPr/>
        </p:nvSpPr>
        <p:spPr>
          <a:xfrm>
            <a:off x="969263" y="3814608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91" name="object 291"/>
          <p:cNvSpPr/>
          <p:nvPr/>
        </p:nvSpPr>
        <p:spPr>
          <a:xfrm>
            <a:off x="969263" y="3483598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92" name="object 292"/>
          <p:cNvSpPr/>
          <p:nvPr/>
        </p:nvSpPr>
        <p:spPr>
          <a:xfrm>
            <a:off x="969263" y="3152587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93" name="object 293"/>
          <p:cNvSpPr/>
          <p:nvPr/>
        </p:nvSpPr>
        <p:spPr>
          <a:xfrm>
            <a:off x="969263" y="2822719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94" name="object 294"/>
          <p:cNvSpPr/>
          <p:nvPr/>
        </p:nvSpPr>
        <p:spPr>
          <a:xfrm>
            <a:off x="969263" y="2491708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95" name="object 295"/>
          <p:cNvSpPr/>
          <p:nvPr/>
        </p:nvSpPr>
        <p:spPr>
          <a:xfrm>
            <a:off x="969263" y="2160698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96" name="object 296"/>
          <p:cNvSpPr/>
          <p:nvPr/>
        </p:nvSpPr>
        <p:spPr>
          <a:xfrm>
            <a:off x="969263" y="1829688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97" name="object 297"/>
          <p:cNvSpPr/>
          <p:nvPr/>
        </p:nvSpPr>
        <p:spPr>
          <a:xfrm>
            <a:off x="969263" y="1498678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98" name="object 298"/>
          <p:cNvSpPr/>
          <p:nvPr/>
        </p:nvSpPr>
        <p:spPr>
          <a:xfrm>
            <a:off x="1022604" y="3814608"/>
            <a:ext cx="7478268" cy="0"/>
          </a:xfrm>
          <a:custGeom>
            <a:avLst/>
            <a:gdLst/>
            <a:ahLst/>
            <a:cxnLst/>
            <a:rect l="l" t="t" r="r" b="b"/>
            <a:pathLst>
              <a:path w="7478268">
                <a:moveTo>
                  <a:pt x="0" y="0"/>
                </a:moveTo>
                <a:lnTo>
                  <a:pt x="7478268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99" name="object 299"/>
          <p:cNvSpPr/>
          <p:nvPr/>
        </p:nvSpPr>
        <p:spPr>
          <a:xfrm>
            <a:off x="1022604" y="3814608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00" name="object 300"/>
          <p:cNvSpPr/>
          <p:nvPr/>
        </p:nvSpPr>
        <p:spPr>
          <a:xfrm>
            <a:off x="1022604" y="3814608"/>
            <a:ext cx="0" cy="240839"/>
          </a:xfrm>
          <a:custGeom>
            <a:avLst/>
            <a:gdLst/>
            <a:ahLst/>
            <a:cxnLst/>
            <a:rect l="l" t="t" r="r" b="b"/>
            <a:pathLst>
              <a:path h="321563">
                <a:moveTo>
                  <a:pt x="0" y="0"/>
                </a:moveTo>
                <a:lnTo>
                  <a:pt x="0" y="321564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01" name="object 301"/>
          <p:cNvSpPr/>
          <p:nvPr/>
        </p:nvSpPr>
        <p:spPr>
          <a:xfrm>
            <a:off x="1958339" y="3814608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02" name="object 302"/>
          <p:cNvSpPr/>
          <p:nvPr/>
        </p:nvSpPr>
        <p:spPr>
          <a:xfrm>
            <a:off x="1958339" y="3814608"/>
            <a:ext cx="0" cy="240839"/>
          </a:xfrm>
          <a:custGeom>
            <a:avLst/>
            <a:gdLst/>
            <a:ahLst/>
            <a:cxnLst/>
            <a:rect l="l" t="t" r="r" b="b"/>
            <a:pathLst>
              <a:path h="321563">
                <a:moveTo>
                  <a:pt x="0" y="0"/>
                </a:moveTo>
                <a:lnTo>
                  <a:pt x="0" y="321564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03" name="object 303"/>
          <p:cNvSpPr/>
          <p:nvPr/>
        </p:nvSpPr>
        <p:spPr>
          <a:xfrm>
            <a:off x="2892552" y="3814608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04" name="object 304"/>
          <p:cNvSpPr/>
          <p:nvPr/>
        </p:nvSpPr>
        <p:spPr>
          <a:xfrm>
            <a:off x="2892552" y="3814608"/>
            <a:ext cx="0" cy="240839"/>
          </a:xfrm>
          <a:custGeom>
            <a:avLst/>
            <a:gdLst/>
            <a:ahLst/>
            <a:cxnLst/>
            <a:rect l="l" t="t" r="r" b="b"/>
            <a:pathLst>
              <a:path h="321563">
                <a:moveTo>
                  <a:pt x="0" y="0"/>
                </a:moveTo>
                <a:lnTo>
                  <a:pt x="0" y="321564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05" name="object 305"/>
          <p:cNvSpPr/>
          <p:nvPr/>
        </p:nvSpPr>
        <p:spPr>
          <a:xfrm>
            <a:off x="3826764" y="3814608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06" name="object 306"/>
          <p:cNvSpPr/>
          <p:nvPr/>
        </p:nvSpPr>
        <p:spPr>
          <a:xfrm>
            <a:off x="3826764" y="3814608"/>
            <a:ext cx="0" cy="240839"/>
          </a:xfrm>
          <a:custGeom>
            <a:avLst/>
            <a:gdLst/>
            <a:ahLst/>
            <a:cxnLst/>
            <a:rect l="l" t="t" r="r" b="b"/>
            <a:pathLst>
              <a:path h="321563">
                <a:moveTo>
                  <a:pt x="0" y="0"/>
                </a:moveTo>
                <a:lnTo>
                  <a:pt x="0" y="321564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07" name="object 307"/>
          <p:cNvSpPr/>
          <p:nvPr/>
        </p:nvSpPr>
        <p:spPr>
          <a:xfrm>
            <a:off x="4762500" y="3814608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08" name="object 308"/>
          <p:cNvSpPr/>
          <p:nvPr/>
        </p:nvSpPr>
        <p:spPr>
          <a:xfrm>
            <a:off x="4762500" y="3814608"/>
            <a:ext cx="0" cy="240839"/>
          </a:xfrm>
          <a:custGeom>
            <a:avLst/>
            <a:gdLst/>
            <a:ahLst/>
            <a:cxnLst/>
            <a:rect l="l" t="t" r="r" b="b"/>
            <a:pathLst>
              <a:path h="321563">
                <a:moveTo>
                  <a:pt x="0" y="0"/>
                </a:moveTo>
                <a:lnTo>
                  <a:pt x="0" y="321564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09" name="object 309"/>
          <p:cNvSpPr/>
          <p:nvPr/>
        </p:nvSpPr>
        <p:spPr>
          <a:xfrm>
            <a:off x="5696712" y="3814608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10" name="object 310"/>
          <p:cNvSpPr/>
          <p:nvPr/>
        </p:nvSpPr>
        <p:spPr>
          <a:xfrm>
            <a:off x="5696712" y="3814608"/>
            <a:ext cx="0" cy="240839"/>
          </a:xfrm>
          <a:custGeom>
            <a:avLst/>
            <a:gdLst/>
            <a:ahLst/>
            <a:cxnLst/>
            <a:rect l="l" t="t" r="r" b="b"/>
            <a:pathLst>
              <a:path h="321563">
                <a:moveTo>
                  <a:pt x="0" y="0"/>
                </a:moveTo>
                <a:lnTo>
                  <a:pt x="0" y="321564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11" name="object 311"/>
          <p:cNvSpPr/>
          <p:nvPr/>
        </p:nvSpPr>
        <p:spPr>
          <a:xfrm>
            <a:off x="6632448" y="3814608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12" name="object 312"/>
          <p:cNvSpPr/>
          <p:nvPr/>
        </p:nvSpPr>
        <p:spPr>
          <a:xfrm>
            <a:off x="6632448" y="3814608"/>
            <a:ext cx="0" cy="240839"/>
          </a:xfrm>
          <a:custGeom>
            <a:avLst/>
            <a:gdLst/>
            <a:ahLst/>
            <a:cxnLst/>
            <a:rect l="l" t="t" r="r" b="b"/>
            <a:pathLst>
              <a:path h="321563">
                <a:moveTo>
                  <a:pt x="0" y="0"/>
                </a:moveTo>
                <a:lnTo>
                  <a:pt x="0" y="321564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13" name="object 313"/>
          <p:cNvSpPr/>
          <p:nvPr/>
        </p:nvSpPr>
        <p:spPr>
          <a:xfrm>
            <a:off x="7566659" y="3814608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14" name="object 314"/>
          <p:cNvSpPr/>
          <p:nvPr/>
        </p:nvSpPr>
        <p:spPr>
          <a:xfrm>
            <a:off x="7566659" y="3814608"/>
            <a:ext cx="0" cy="240839"/>
          </a:xfrm>
          <a:custGeom>
            <a:avLst/>
            <a:gdLst/>
            <a:ahLst/>
            <a:cxnLst/>
            <a:rect l="l" t="t" r="r" b="b"/>
            <a:pathLst>
              <a:path h="321563">
                <a:moveTo>
                  <a:pt x="0" y="0"/>
                </a:moveTo>
                <a:lnTo>
                  <a:pt x="0" y="321564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15" name="object 315"/>
          <p:cNvSpPr/>
          <p:nvPr/>
        </p:nvSpPr>
        <p:spPr>
          <a:xfrm>
            <a:off x="8500872" y="3814608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4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16" name="object 316"/>
          <p:cNvSpPr/>
          <p:nvPr/>
        </p:nvSpPr>
        <p:spPr>
          <a:xfrm>
            <a:off x="8500872" y="3814608"/>
            <a:ext cx="0" cy="240839"/>
          </a:xfrm>
          <a:custGeom>
            <a:avLst/>
            <a:gdLst/>
            <a:ahLst/>
            <a:cxnLst/>
            <a:rect l="l" t="t" r="r" b="b"/>
            <a:pathLst>
              <a:path h="321563">
                <a:moveTo>
                  <a:pt x="0" y="0"/>
                </a:moveTo>
                <a:lnTo>
                  <a:pt x="0" y="321564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17" name="object 317"/>
          <p:cNvSpPr/>
          <p:nvPr/>
        </p:nvSpPr>
        <p:spPr>
          <a:xfrm>
            <a:off x="1022604" y="4055446"/>
            <a:ext cx="0" cy="239697"/>
          </a:xfrm>
          <a:custGeom>
            <a:avLst/>
            <a:gdLst/>
            <a:ahLst/>
            <a:cxnLst/>
            <a:rect l="l" t="t" r="r" b="b"/>
            <a:pathLst>
              <a:path h="320039">
                <a:moveTo>
                  <a:pt x="0" y="0"/>
                </a:moveTo>
                <a:lnTo>
                  <a:pt x="0" y="3200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18" name="object 318"/>
          <p:cNvSpPr/>
          <p:nvPr/>
        </p:nvSpPr>
        <p:spPr>
          <a:xfrm>
            <a:off x="2892552" y="4055446"/>
            <a:ext cx="0" cy="239697"/>
          </a:xfrm>
          <a:custGeom>
            <a:avLst/>
            <a:gdLst/>
            <a:ahLst/>
            <a:cxnLst/>
            <a:rect l="l" t="t" r="r" b="b"/>
            <a:pathLst>
              <a:path h="320039">
                <a:moveTo>
                  <a:pt x="0" y="0"/>
                </a:moveTo>
                <a:lnTo>
                  <a:pt x="0" y="3200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19" name="object 319"/>
          <p:cNvSpPr/>
          <p:nvPr/>
        </p:nvSpPr>
        <p:spPr>
          <a:xfrm>
            <a:off x="4762500" y="4055446"/>
            <a:ext cx="0" cy="239697"/>
          </a:xfrm>
          <a:custGeom>
            <a:avLst/>
            <a:gdLst/>
            <a:ahLst/>
            <a:cxnLst/>
            <a:rect l="l" t="t" r="r" b="b"/>
            <a:pathLst>
              <a:path h="320039">
                <a:moveTo>
                  <a:pt x="0" y="0"/>
                </a:moveTo>
                <a:lnTo>
                  <a:pt x="0" y="3200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20" name="object 320"/>
          <p:cNvSpPr/>
          <p:nvPr/>
        </p:nvSpPr>
        <p:spPr>
          <a:xfrm>
            <a:off x="6632448" y="4055446"/>
            <a:ext cx="0" cy="239697"/>
          </a:xfrm>
          <a:custGeom>
            <a:avLst/>
            <a:gdLst/>
            <a:ahLst/>
            <a:cxnLst/>
            <a:rect l="l" t="t" r="r" b="b"/>
            <a:pathLst>
              <a:path h="320039">
                <a:moveTo>
                  <a:pt x="0" y="0"/>
                </a:moveTo>
                <a:lnTo>
                  <a:pt x="0" y="3200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21" name="object 321"/>
          <p:cNvSpPr/>
          <p:nvPr/>
        </p:nvSpPr>
        <p:spPr>
          <a:xfrm>
            <a:off x="8500872" y="4055446"/>
            <a:ext cx="0" cy="239697"/>
          </a:xfrm>
          <a:custGeom>
            <a:avLst/>
            <a:gdLst/>
            <a:ahLst/>
            <a:cxnLst/>
            <a:rect l="l" t="t" r="r" b="b"/>
            <a:pathLst>
              <a:path h="320039">
                <a:moveTo>
                  <a:pt x="0" y="0"/>
                </a:moveTo>
                <a:lnTo>
                  <a:pt x="0" y="3200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22" name="object 322"/>
          <p:cNvSpPr/>
          <p:nvPr/>
        </p:nvSpPr>
        <p:spPr>
          <a:xfrm>
            <a:off x="7519416" y="1624233"/>
            <a:ext cx="1030224" cy="48396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23" name="object 323"/>
          <p:cNvSpPr/>
          <p:nvPr/>
        </p:nvSpPr>
        <p:spPr>
          <a:xfrm>
            <a:off x="7991856" y="1834253"/>
            <a:ext cx="85344" cy="6391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24" name="object 324"/>
          <p:cNvSpPr/>
          <p:nvPr/>
        </p:nvSpPr>
        <p:spPr>
          <a:xfrm>
            <a:off x="7578725" y="1650296"/>
            <a:ext cx="912876" cy="397117"/>
          </a:xfrm>
          <a:custGeom>
            <a:avLst/>
            <a:gdLst/>
            <a:ahLst/>
            <a:cxnLst/>
            <a:rect l="l" t="t" r="r" b="b"/>
            <a:pathLst>
              <a:path w="912876" h="530225">
                <a:moveTo>
                  <a:pt x="0" y="265175"/>
                </a:moveTo>
                <a:lnTo>
                  <a:pt x="1512" y="243430"/>
                </a:lnTo>
                <a:lnTo>
                  <a:pt x="5973" y="222168"/>
                </a:lnTo>
                <a:lnTo>
                  <a:pt x="13264" y="201458"/>
                </a:lnTo>
                <a:lnTo>
                  <a:pt x="23268" y="181368"/>
                </a:lnTo>
                <a:lnTo>
                  <a:pt x="35867" y="161966"/>
                </a:lnTo>
                <a:lnTo>
                  <a:pt x="50944" y="143321"/>
                </a:lnTo>
                <a:lnTo>
                  <a:pt x="68382" y="125502"/>
                </a:lnTo>
                <a:lnTo>
                  <a:pt x="88062" y="108575"/>
                </a:lnTo>
                <a:lnTo>
                  <a:pt x="109869" y="92611"/>
                </a:lnTo>
                <a:lnTo>
                  <a:pt x="133683" y="77676"/>
                </a:lnTo>
                <a:lnTo>
                  <a:pt x="159388" y="63839"/>
                </a:lnTo>
                <a:lnTo>
                  <a:pt x="186866" y="51169"/>
                </a:lnTo>
                <a:lnTo>
                  <a:pt x="216000" y="39734"/>
                </a:lnTo>
                <a:lnTo>
                  <a:pt x="246673" y="29602"/>
                </a:lnTo>
                <a:lnTo>
                  <a:pt x="278766" y="20841"/>
                </a:lnTo>
                <a:lnTo>
                  <a:pt x="312163" y="13520"/>
                </a:lnTo>
                <a:lnTo>
                  <a:pt x="346747" y="7707"/>
                </a:lnTo>
                <a:lnTo>
                  <a:pt x="382398" y="3471"/>
                </a:lnTo>
                <a:lnTo>
                  <a:pt x="419001" y="879"/>
                </a:lnTo>
                <a:lnTo>
                  <a:pt x="456438" y="0"/>
                </a:lnTo>
                <a:lnTo>
                  <a:pt x="493874" y="879"/>
                </a:lnTo>
                <a:lnTo>
                  <a:pt x="530477" y="3471"/>
                </a:lnTo>
                <a:lnTo>
                  <a:pt x="566128" y="7707"/>
                </a:lnTo>
                <a:lnTo>
                  <a:pt x="600712" y="13520"/>
                </a:lnTo>
                <a:lnTo>
                  <a:pt x="634109" y="20841"/>
                </a:lnTo>
                <a:lnTo>
                  <a:pt x="666202" y="29602"/>
                </a:lnTo>
                <a:lnTo>
                  <a:pt x="696875" y="39734"/>
                </a:lnTo>
                <a:lnTo>
                  <a:pt x="726009" y="51169"/>
                </a:lnTo>
                <a:lnTo>
                  <a:pt x="753487" y="63839"/>
                </a:lnTo>
                <a:lnTo>
                  <a:pt x="779192" y="77676"/>
                </a:lnTo>
                <a:lnTo>
                  <a:pt x="803006" y="92611"/>
                </a:lnTo>
                <a:lnTo>
                  <a:pt x="824813" y="108575"/>
                </a:lnTo>
                <a:lnTo>
                  <a:pt x="844493" y="125502"/>
                </a:lnTo>
                <a:lnTo>
                  <a:pt x="861931" y="143321"/>
                </a:lnTo>
                <a:lnTo>
                  <a:pt x="877008" y="161966"/>
                </a:lnTo>
                <a:lnTo>
                  <a:pt x="889607" y="181368"/>
                </a:lnTo>
                <a:lnTo>
                  <a:pt x="899611" y="201458"/>
                </a:lnTo>
                <a:lnTo>
                  <a:pt x="906902" y="222168"/>
                </a:lnTo>
                <a:lnTo>
                  <a:pt x="911363" y="243430"/>
                </a:lnTo>
                <a:lnTo>
                  <a:pt x="912876" y="265175"/>
                </a:lnTo>
                <a:lnTo>
                  <a:pt x="911363" y="286903"/>
                </a:lnTo>
                <a:lnTo>
                  <a:pt x="906902" y="308149"/>
                </a:lnTo>
                <a:lnTo>
                  <a:pt x="899611" y="328844"/>
                </a:lnTo>
                <a:lnTo>
                  <a:pt x="889607" y="348921"/>
                </a:lnTo>
                <a:lnTo>
                  <a:pt x="877008" y="368311"/>
                </a:lnTo>
                <a:lnTo>
                  <a:pt x="861931" y="386946"/>
                </a:lnTo>
                <a:lnTo>
                  <a:pt x="844493" y="404757"/>
                </a:lnTo>
                <a:lnTo>
                  <a:pt x="824813" y="421676"/>
                </a:lnTo>
                <a:lnTo>
                  <a:pt x="803006" y="437634"/>
                </a:lnTo>
                <a:lnTo>
                  <a:pt x="779192" y="452564"/>
                </a:lnTo>
                <a:lnTo>
                  <a:pt x="753487" y="466396"/>
                </a:lnTo>
                <a:lnTo>
                  <a:pt x="726009" y="479063"/>
                </a:lnTo>
                <a:lnTo>
                  <a:pt x="696875" y="490495"/>
                </a:lnTo>
                <a:lnTo>
                  <a:pt x="666202" y="500625"/>
                </a:lnTo>
                <a:lnTo>
                  <a:pt x="634109" y="509385"/>
                </a:lnTo>
                <a:lnTo>
                  <a:pt x="600712" y="516705"/>
                </a:lnTo>
                <a:lnTo>
                  <a:pt x="566128" y="522517"/>
                </a:lnTo>
                <a:lnTo>
                  <a:pt x="530477" y="526753"/>
                </a:lnTo>
                <a:lnTo>
                  <a:pt x="493874" y="529345"/>
                </a:lnTo>
                <a:lnTo>
                  <a:pt x="456438" y="530225"/>
                </a:lnTo>
                <a:lnTo>
                  <a:pt x="419001" y="529345"/>
                </a:lnTo>
                <a:lnTo>
                  <a:pt x="382398" y="526753"/>
                </a:lnTo>
                <a:lnTo>
                  <a:pt x="346747" y="522517"/>
                </a:lnTo>
                <a:lnTo>
                  <a:pt x="312163" y="516705"/>
                </a:lnTo>
                <a:lnTo>
                  <a:pt x="278766" y="509385"/>
                </a:lnTo>
                <a:lnTo>
                  <a:pt x="246673" y="500625"/>
                </a:lnTo>
                <a:lnTo>
                  <a:pt x="216000" y="490495"/>
                </a:lnTo>
                <a:lnTo>
                  <a:pt x="186866" y="479063"/>
                </a:lnTo>
                <a:lnTo>
                  <a:pt x="159388" y="466396"/>
                </a:lnTo>
                <a:lnTo>
                  <a:pt x="133683" y="452564"/>
                </a:lnTo>
                <a:lnTo>
                  <a:pt x="109869" y="437634"/>
                </a:lnTo>
                <a:lnTo>
                  <a:pt x="88062" y="421676"/>
                </a:lnTo>
                <a:lnTo>
                  <a:pt x="68382" y="404757"/>
                </a:lnTo>
                <a:lnTo>
                  <a:pt x="50944" y="386946"/>
                </a:lnTo>
                <a:lnTo>
                  <a:pt x="35867" y="368311"/>
                </a:lnTo>
                <a:lnTo>
                  <a:pt x="23268" y="348921"/>
                </a:lnTo>
                <a:lnTo>
                  <a:pt x="13264" y="328844"/>
                </a:lnTo>
                <a:lnTo>
                  <a:pt x="5973" y="308149"/>
                </a:lnTo>
                <a:lnTo>
                  <a:pt x="1512" y="286903"/>
                </a:lnTo>
                <a:lnTo>
                  <a:pt x="0" y="265175"/>
                </a:lnTo>
                <a:close/>
              </a:path>
            </a:pathLst>
          </a:custGeom>
          <a:ln w="31750">
            <a:solidFill>
              <a:srgbClr val="6699C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25" name="object 325"/>
          <p:cNvSpPr/>
          <p:nvPr/>
        </p:nvSpPr>
        <p:spPr>
          <a:xfrm>
            <a:off x="1921764" y="2879789"/>
            <a:ext cx="1028700" cy="48396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26" name="object 326"/>
          <p:cNvSpPr/>
          <p:nvPr/>
        </p:nvSpPr>
        <p:spPr>
          <a:xfrm>
            <a:off x="2392681" y="3089810"/>
            <a:ext cx="85343" cy="6391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27" name="object 327"/>
          <p:cNvSpPr/>
          <p:nvPr/>
        </p:nvSpPr>
        <p:spPr>
          <a:xfrm>
            <a:off x="1979677" y="2905852"/>
            <a:ext cx="912749" cy="397117"/>
          </a:xfrm>
          <a:custGeom>
            <a:avLst/>
            <a:gdLst/>
            <a:ahLst/>
            <a:cxnLst/>
            <a:rect l="l" t="t" r="r" b="b"/>
            <a:pathLst>
              <a:path w="912749" h="530225">
                <a:moveTo>
                  <a:pt x="0" y="265049"/>
                </a:moveTo>
                <a:lnTo>
                  <a:pt x="1512" y="243321"/>
                </a:lnTo>
                <a:lnTo>
                  <a:pt x="5970" y="222075"/>
                </a:lnTo>
                <a:lnTo>
                  <a:pt x="13256" y="201380"/>
                </a:lnTo>
                <a:lnTo>
                  <a:pt x="23255" y="181303"/>
                </a:lnTo>
                <a:lnTo>
                  <a:pt x="35847" y="161913"/>
                </a:lnTo>
                <a:lnTo>
                  <a:pt x="50917" y="143278"/>
                </a:lnTo>
                <a:lnTo>
                  <a:pt x="68346" y="125467"/>
                </a:lnTo>
                <a:lnTo>
                  <a:pt x="88018" y="108548"/>
                </a:lnTo>
                <a:lnTo>
                  <a:pt x="109815" y="92590"/>
                </a:lnTo>
                <a:lnTo>
                  <a:pt x="133619" y="77660"/>
                </a:lnTo>
                <a:lnTo>
                  <a:pt x="159315" y="63828"/>
                </a:lnTo>
                <a:lnTo>
                  <a:pt x="186784" y="51161"/>
                </a:lnTo>
                <a:lnTo>
                  <a:pt x="215909" y="39729"/>
                </a:lnTo>
                <a:lnTo>
                  <a:pt x="246573" y="29599"/>
                </a:lnTo>
                <a:lnTo>
                  <a:pt x="278659" y="20839"/>
                </a:lnTo>
                <a:lnTo>
                  <a:pt x="312050" y="13519"/>
                </a:lnTo>
                <a:lnTo>
                  <a:pt x="346627" y="7707"/>
                </a:lnTo>
                <a:lnTo>
                  <a:pt x="382275" y="3471"/>
                </a:lnTo>
                <a:lnTo>
                  <a:pt x="418875" y="879"/>
                </a:lnTo>
                <a:lnTo>
                  <a:pt x="456311" y="0"/>
                </a:lnTo>
                <a:lnTo>
                  <a:pt x="493747" y="879"/>
                </a:lnTo>
                <a:lnTo>
                  <a:pt x="530350" y="3471"/>
                </a:lnTo>
                <a:lnTo>
                  <a:pt x="566001" y="7707"/>
                </a:lnTo>
                <a:lnTo>
                  <a:pt x="600585" y="13520"/>
                </a:lnTo>
                <a:lnTo>
                  <a:pt x="633982" y="20841"/>
                </a:lnTo>
                <a:lnTo>
                  <a:pt x="666075" y="29602"/>
                </a:lnTo>
                <a:lnTo>
                  <a:pt x="696748" y="39734"/>
                </a:lnTo>
                <a:lnTo>
                  <a:pt x="725882" y="51169"/>
                </a:lnTo>
                <a:lnTo>
                  <a:pt x="753360" y="63839"/>
                </a:lnTo>
                <a:lnTo>
                  <a:pt x="779065" y="77676"/>
                </a:lnTo>
                <a:lnTo>
                  <a:pt x="802879" y="92611"/>
                </a:lnTo>
                <a:lnTo>
                  <a:pt x="824686" y="108575"/>
                </a:lnTo>
                <a:lnTo>
                  <a:pt x="844366" y="125502"/>
                </a:lnTo>
                <a:lnTo>
                  <a:pt x="861804" y="143321"/>
                </a:lnTo>
                <a:lnTo>
                  <a:pt x="876881" y="161966"/>
                </a:lnTo>
                <a:lnTo>
                  <a:pt x="889480" y="181368"/>
                </a:lnTo>
                <a:lnTo>
                  <a:pt x="899484" y="201458"/>
                </a:lnTo>
                <a:lnTo>
                  <a:pt x="906775" y="222168"/>
                </a:lnTo>
                <a:lnTo>
                  <a:pt x="911236" y="243430"/>
                </a:lnTo>
                <a:lnTo>
                  <a:pt x="912749" y="265175"/>
                </a:lnTo>
                <a:lnTo>
                  <a:pt x="911236" y="286903"/>
                </a:lnTo>
                <a:lnTo>
                  <a:pt x="906775" y="308149"/>
                </a:lnTo>
                <a:lnTo>
                  <a:pt x="899484" y="328844"/>
                </a:lnTo>
                <a:lnTo>
                  <a:pt x="889480" y="348921"/>
                </a:lnTo>
                <a:lnTo>
                  <a:pt x="876881" y="368311"/>
                </a:lnTo>
                <a:lnTo>
                  <a:pt x="861804" y="386946"/>
                </a:lnTo>
                <a:lnTo>
                  <a:pt x="844366" y="404757"/>
                </a:lnTo>
                <a:lnTo>
                  <a:pt x="824686" y="421676"/>
                </a:lnTo>
                <a:lnTo>
                  <a:pt x="802879" y="437634"/>
                </a:lnTo>
                <a:lnTo>
                  <a:pt x="779065" y="452564"/>
                </a:lnTo>
                <a:lnTo>
                  <a:pt x="753360" y="466396"/>
                </a:lnTo>
                <a:lnTo>
                  <a:pt x="725882" y="479063"/>
                </a:lnTo>
                <a:lnTo>
                  <a:pt x="696748" y="490495"/>
                </a:lnTo>
                <a:lnTo>
                  <a:pt x="666075" y="500625"/>
                </a:lnTo>
                <a:lnTo>
                  <a:pt x="633982" y="509385"/>
                </a:lnTo>
                <a:lnTo>
                  <a:pt x="600585" y="516705"/>
                </a:lnTo>
                <a:lnTo>
                  <a:pt x="566001" y="522517"/>
                </a:lnTo>
                <a:lnTo>
                  <a:pt x="530350" y="526753"/>
                </a:lnTo>
                <a:lnTo>
                  <a:pt x="493747" y="529345"/>
                </a:lnTo>
                <a:lnTo>
                  <a:pt x="456311" y="530225"/>
                </a:lnTo>
                <a:lnTo>
                  <a:pt x="418875" y="529345"/>
                </a:lnTo>
                <a:lnTo>
                  <a:pt x="382275" y="526753"/>
                </a:lnTo>
                <a:lnTo>
                  <a:pt x="346627" y="522517"/>
                </a:lnTo>
                <a:lnTo>
                  <a:pt x="312050" y="516705"/>
                </a:lnTo>
                <a:lnTo>
                  <a:pt x="278659" y="509385"/>
                </a:lnTo>
                <a:lnTo>
                  <a:pt x="246573" y="500625"/>
                </a:lnTo>
                <a:lnTo>
                  <a:pt x="215909" y="490495"/>
                </a:lnTo>
                <a:lnTo>
                  <a:pt x="186784" y="479063"/>
                </a:lnTo>
                <a:lnTo>
                  <a:pt x="159315" y="466396"/>
                </a:lnTo>
                <a:lnTo>
                  <a:pt x="133619" y="452564"/>
                </a:lnTo>
                <a:lnTo>
                  <a:pt x="109815" y="437634"/>
                </a:lnTo>
                <a:lnTo>
                  <a:pt x="88018" y="421676"/>
                </a:lnTo>
                <a:lnTo>
                  <a:pt x="68346" y="404757"/>
                </a:lnTo>
                <a:lnTo>
                  <a:pt x="50917" y="386946"/>
                </a:lnTo>
                <a:lnTo>
                  <a:pt x="35847" y="368311"/>
                </a:lnTo>
                <a:lnTo>
                  <a:pt x="23255" y="348921"/>
                </a:lnTo>
                <a:lnTo>
                  <a:pt x="13256" y="328844"/>
                </a:lnTo>
                <a:lnTo>
                  <a:pt x="5970" y="308149"/>
                </a:lnTo>
                <a:lnTo>
                  <a:pt x="1512" y="286903"/>
                </a:lnTo>
                <a:lnTo>
                  <a:pt x="0" y="265175"/>
                </a:lnTo>
                <a:close/>
              </a:path>
            </a:pathLst>
          </a:custGeom>
          <a:ln w="31750">
            <a:solidFill>
              <a:srgbClr val="6699C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28" name="object 328"/>
          <p:cNvSpPr/>
          <p:nvPr/>
        </p:nvSpPr>
        <p:spPr>
          <a:xfrm>
            <a:off x="3802379" y="2465456"/>
            <a:ext cx="1030224" cy="48510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29" name="object 329"/>
          <p:cNvSpPr/>
          <p:nvPr/>
        </p:nvSpPr>
        <p:spPr>
          <a:xfrm>
            <a:off x="4274820" y="2675475"/>
            <a:ext cx="85344" cy="6391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30" name="object 330"/>
          <p:cNvSpPr/>
          <p:nvPr/>
        </p:nvSpPr>
        <p:spPr>
          <a:xfrm>
            <a:off x="3860800" y="2492089"/>
            <a:ext cx="912876" cy="397117"/>
          </a:xfrm>
          <a:custGeom>
            <a:avLst/>
            <a:gdLst/>
            <a:ahLst/>
            <a:cxnLst/>
            <a:rect l="l" t="t" r="r" b="b"/>
            <a:pathLst>
              <a:path w="912876" h="530225">
                <a:moveTo>
                  <a:pt x="0" y="265175"/>
                </a:moveTo>
                <a:lnTo>
                  <a:pt x="1512" y="243430"/>
                </a:lnTo>
                <a:lnTo>
                  <a:pt x="5973" y="222168"/>
                </a:lnTo>
                <a:lnTo>
                  <a:pt x="13264" y="201458"/>
                </a:lnTo>
                <a:lnTo>
                  <a:pt x="23268" y="181368"/>
                </a:lnTo>
                <a:lnTo>
                  <a:pt x="35867" y="161966"/>
                </a:lnTo>
                <a:lnTo>
                  <a:pt x="50944" y="143321"/>
                </a:lnTo>
                <a:lnTo>
                  <a:pt x="68382" y="125502"/>
                </a:lnTo>
                <a:lnTo>
                  <a:pt x="88062" y="108575"/>
                </a:lnTo>
                <a:lnTo>
                  <a:pt x="109869" y="92611"/>
                </a:lnTo>
                <a:lnTo>
                  <a:pt x="133683" y="77676"/>
                </a:lnTo>
                <a:lnTo>
                  <a:pt x="159388" y="63839"/>
                </a:lnTo>
                <a:lnTo>
                  <a:pt x="186866" y="51169"/>
                </a:lnTo>
                <a:lnTo>
                  <a:pt x="216000" y="39734"/>
                </a:lnTo>
                <a:lnTo>
                  <a:pt x="246673" y="29602"/>
                </a:lnTo>
                <a:lnTo>
                  <a:pt x="278766" y="20841"/>
                </a:lnTo>
                <a:lnTo>
                  <a:pt x="312163" y="13520"/>
                </a:lnTo>
                <a:lnTo>
                  <a:pt x="346747" y="7707"/>
                </a:lnTo>
                <a:lnTo>
                  <a:pt x="382398" y="3471"/>
                </a:lnTo>
                <a:lnTo>
                  <a:pt x="419001" y="879"/>
                </a:lnTo>
                <a:lnTo>
                  <a:pt x="456438" y="0"/>
                </a:lnTo>
                <a:lnTo>
                  <a:pt x="493874" y="879"/>
                </a:lnTo>
                <a:lnTo>
                  <a:pt x="530477" y="3471"/>
                </a:lnTo>
                <a:lnTo>
                  <a:pt x="566128" y="7707"/>
                </a:lnTo>
                <a:lnTo>
                  <a:pt x="600712" y="13520"/>
                </a:lnTo>
                <a:lnTo>
                  <a:pt x="634109" y="20841"/>
                </a:lnTo>
                <a:lnTo>
                  <a:pt x="666202" y="29602"/>
                </a:lnTo>
                <a:lnTo>
                  <a:pt x="696875" y="39734"/>
                </a:lnTo>
                <a:lnTo>
                  <a:pt x="726009" y="51169"/>
                </a:lnTo>
                <a:lnTo>
                  <a:pt x="753487" y="63839"/>
                </a:lnTo>
                <a:lnTo>
                  <a:pt x="779192" y="77676"/>
                </a:lnTo>
                <a:lnTo>
                  <a:pt x="803006" y="92611"/>
                </a:lnTo>
                <a:lnTo>
                  <a:pt x="824813" y="108575"/>
                </a:lnTo>
                <a:lnTo>
                  <a:pt x="844493" y="125502"/>
                </a:lnTo>
                <a:lnTo>
                  <a:pt x="861931" y="143321"/>
                </a:lnTo>
                <a:lnTo>
                  <a:pt x="877008" y="161966"/>
                </a:lnTo>
                <a:lnTo>
                  <a:pt x="889607" y="181368"/>
                </a:lnTo>
                <a:lnTo>
                  <a:pt x="899611" y="201458"/>
                </a:lnTo>
                <a:lnTo>
                  <a:pt x="906902" y="222168"/>
                </a:lnTo>
                <a:lnTo>
                  <a:pt x="911363" y="243430"/>
                </a:lnTo>
                <a:lnTo>
                  <a:pt x="912876" y="265175"/>
                </a:lnTo>
                <a:lnTo>
                  <a:pt x="911363" y="286903"/>
                </a:lnTo>
                <a:lnTo>
                  <a:pt x="906902" y="308149"/>
                </a:lnTo>
                <a:lnTo>
                  <a:pt x="899611" y="328844"/>
                </a:lnTo>
                <a:lnTo>
                  <a:pt x="889607" y="348921"/>
                </a:lnTo>
                <a:lnTo>
                  <a:pt x="877008" y="368311"/>
                </a:lnTo>
                <a:lnTo>
                  <a:pt x="861931" y="386946"/>
                </a:lnTo>
                <a:lnTo>
                  <a:pt x="844493" y="404757"/>
                </a:lnTo>
                <a:lnTo>
                  <a:pt x="824813" y="421676"/>
                </a:lnTo>
                <a:lnTo>
                  <a:pt x="803006" y="437634"/>
                </a:lnTo>
                <a:lnTo>
                  <a:pt x="779192" y="452564"/>
                </a:lnTo>
                <a:lnTo>
                  <a:pt x="753487" y="466396"/>
                </a:lnTo>
                <a:lnTo>
                  <a:pt x="726009" y="479063"/>
                </a:lnTo>
                <a:lnTo>
                  <a:pt x="696875" y="490495"/>
                </a:lnTo>
                <a:lnTo>
                  <a:pt x="666202" y="500625"/>
                </a:lnTo>
                <a:lnTo>
                  <a:pt x="634109" y="509385"/>
                </a:lnTo>
                <a:lnTo>
                  <a:pt x="600712" y="516705"/>
                </a:lnTo>
                <a:lnTo>
                  <a:pt x="566128" y="522517"/>
                </a:lnTo>
                <a:lnTo>
                  <a:pt x="530477" y="526753"/>
                </a:lnTo>
                <a:lnTo>
                  <a:pt x="493874" y="529345"/>
                </a:lnTo>
                <a:lnTo>
                  <a:pt x="456438" y="530225"/>
                </a:lnTo>
                <a:lnTo>
                  <a:pt x="419001" y="529345"/>
                </a:lnTo>
                <a:lnTo>
                  <a:pt x="382398" y="526753"/>
                </a:lnTo>
                <a:lnTo>
                  <a:pt x="346747" y="522517"/>
                </a:lnTo>
                <a:lnTo>
                  <a:pt x="312163" y="516705"/>
                </a:lnTo>
                <a:lnTo>
                  <a:pt x="278766" y="509385"/>
                </a:lnTo>
                <a:lnTo>
                  <a:pt x="246673" y="500625"/>
                </a:lnTo>
                <a:lnTo>
                  <a:pt x="216000" y="490495"/>
                </a:lnTo>
                <a:lnTo>
                  <a:pt x="186866" y="479063"/>
                </a:lnTo>
                <a:lnTo>
                  <a:pt x="159388" y="466396"/>
                </a:lnTo>
                <a:lnTo>
                  <a:pt x="133683" y="452564"/>
                </a:lnTo>
                <a:lnTo>
                  <a:pt x="109869" y="437634"/>
                </a:lnTo>
                <a:lnTo>
                  <a:pt x="88062" y="421676"/>
                </a:lnTo>
                <a:lnTo>
                  <a:pt x="68382" y="404757"/>
                </a:lnTo>
                <a:lnTo>
                  <a:pt x="50944" y="386946"/>
                </a:lnTo>
                <a:lnTo>
                  <a:pt x="35867" y="368311"/>
                </a:lnTo>
                <a:lnTo>
                  <a:pt x="23268" y="348921"/>
                </a:lnTo>
                <a:lnTo>
                  <a:pt x="13264" y="328844"/>
                </a:lnTo>
                <a:lnTo>
                  <a:pt x="5973" y="308149"/>
                </a:lnTo>
                <a:lnTo>
                  <a:pt x="1512" y="286903"/>
                </a:lnTo>
                <a:lnTo>
                  <a:pt x="0" y="265175"/>
                </a:lnTo>
                <a:close/>
              </a:path>
            </a:pathLst>
          </a:custGeom>
          <a:ln w="31750">
            <a:solidFill>
              <a:srgbClr val="6699C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31" name="object 331"/>
          <p:cNvSpPr/>
          <p:nvPr/>
        </p:nvSpPr>
        <p:spPr>
          <a:xfrm>
            <a:off x="5586985" y="2309082"/>
            <a:ext cx="1030223" cy="48396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32" name="object 332"/>
          <p:cNvSpPr/>
          <p:nvPr/>
        </p:nvSpPr>
        <p:spPr>
          <a:xfrm>
            <a:off x="6059424" y="2519102"/>
            <a:ext cx="85344" cy="6391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33" name="object 333"/>
          <p:cNvSpPr/>
          <p:nvPr/>
        </p:nvSpPr>
        <p:spPr>
          <a:xfrm>
            <a:off x="5645150" y="2335145"/>
            <a:ext cx="912876" cy="397117"/>
          </a:xfrm>
          <a:custGeom>
            <a:avLst/>
            <a:gdLst/>
            <a:ahLst/>
            <a:cxnLst/>
            <a:rect l="l" t="t" r="r" b="b"/>
            <a:pathLst>
              <a:path w="912876" h="530225">
                <a:moveTo>
                  <a:pt x="0" y="265175"/>
                </a:moveTo>
                <a:lnTo>
                  <a:pt x="1512" y="243430"/>
                </a:lnTo>
                <a:lnTo>
                  <a:pt x="5973" y="222168"/>
                </a:lnTo>
                <a:lnTo>
                  <a:pt x="13264" y="201458"/>
                </a:lnTo>
                <a:lnTo>
                  <a:pt x="23268" y="181368"/>
                </a:lnTo>
                <a:lnTo>
                  <a:pt x="35867" y="161966"/>
                </a:lnTo>
                <a:lnTo>
                  <a:pt x="50944" y="143321"/>
                </a:lnTo>
                <a:lnTo>
                  <a:pt x="68382" y="125502"/>
                </a:lnTo>
                <a:lnTo>
                  <a:pt x="88062" y="108575"/>
                </a:lnTo>
                <a:lnTo>
                  <a:pt x="109869" y="92611"/>
                </a:lnTo>
                <a:lnTo>
                  <a:pt x="133683" y="77676"/>
                </a:lnTo>
                <a:lnTo>
                  <a:pt x="159388" y="63839"/>
                </a:lnTo>
                <a:lnTo>
                  <a:pt x="186866" y="51169"/>
                </a:lnTo>
                <a:lnTo>
                  <a:pt x="216000" y="39734"/>
                </a:lnTo>
                <a:lnTo>
                  <a:pt x="246673" y="29602"/>
                </a:lnTo>
                <a:lnTo>
                  <a:pt x="278766" y="20841"/>
                </a:lnTo>
                <a:lnTo>
                  <a:pt x="312163" y="13520"/>
                </a:lnTo>
                <a:lnTo>
                  <a:pt x="346747" y="7707"/>
                </a:lnTo>
                <a:lnTo>
                  <a:pt x="382398" y="3471"/>
                </a:lnTo>
                <a:lnTo>
                  <a:pt x="419001" y="879"/>
                </a:lnTo>
                <a:lnTo>
                  <a:pt x="456438" y="0"/>
                </a:lnTo>
                <a:lnTo>
                  <a:pt x="493874" y="879"/>
                </a:lnTo>
                <a:lnTo>
                  <a:pt x="530477" y="3471"/>
                </a:lnTo>
                <a:lnTo>
                  <a:pt x="566128" y="7707"/>
                </a:lnTo>
                <a:lnTo>
                  <a:pt x="600712" y="13520"/>
                </a:lnTo>
                <a:lnTo>
                  <a:pt x="634109" y="20841"/>
                </a:lnTo>
                <a:lnTo>
                  <a:pt x="666202" y="29602"/>
                </a:lnTo>
                <a:lnTo>
                  <a:pt x="696875" y="39734"/>
                </a:lnTo>
                <a:lnTo>
                  <a:pt x="726009" y="51169"/>
                </a:lnTo>
                <a:lnTo>
                  <a:pt x="753487" y="63839"/>
                </a:lnTo>
                <a:lnTo>
                  <a:pt x="779192" y="77676"/>
                </a:lnTo>
                <a:lnTo>
                  <a:pt x="803006" y="92611"/>
                </a:lnTo>
                <a:lnTo>
                  <a:pt x="824813" y="108575"/>
                </a:lnTo>
                <a:lnTo>
                  <a:pt x="844493" y="125502"/>
                </a:lnTo>
                <a:lnTo>
                  <a:pt x="861931" y="143321"/>
                </a:lnTo>
                <a:lnTo>
                  <a:pt x="877008" y="161966"/>
                </a:lnTo>
                <a:lnTo>
                  <a:pt x="889607" y="181368"/>
                </a:lnTo>
                <a:lnTo>
                  <a:pt x="899611" y="201458"/>
                </a:lnTo>
                <a:lnTo>
                  <a:pt x="906902" y="222168"/>
                </a:lnTo>
                <a:lnTo>
                  <a:pt x="911363" y="243430"/>
                </a:lnTo>
                <a:lnTo>
                  <a:pt x="912876" y="265175"/>
                </a:lnTo>
                <a:lnTo>
                  <a:pt x="911363" y="286903"/>
                </a:lnTo>
                <a:lnTo>
                  <a:pt x="906902" y="308149"/>
                </a:lnTo>
                <a:lnTo>
                  <a:pt x="899611" y="328844"/>
                </a:lnTo>
                <a:lnTo>
                  <a:pt x="889607" y="348921"/>
                </a:lnTo>
                <a:lnTo>
                  <a:pt x="877008" y="368311"/>
                </a:lnTo>
                <a:lnTo>
                  <a:pt x="861931" y="386946"/>
                </a:lnTo>
                <a:lnTo>
                  <a:pt x="844493" y="404757"/>
                </a:lnTo>
                <a:lnTo>
                  <a:pt x="824813" y="421676"/>
                </a:lnTo>
                <a:lnTo>
                  <a:pt x="803006" y="437634"/>
                </a:lnTo>
                <a:lnTo>
                  <a:pt x="779192" y="452564"/>
                </a:lnTo>
                <a:lnTo>
                  <a:pt x="753487" y="466396"/>
                </a:lnTo>
                <a:lnTo>
                  <a:pt x="726009" y="479063"/>
                </a:lnTo>
                <a:lnTo>
                  <a:pt x="696875" y="490495"/>
                </a:lnTo>
                <a:lnTo>
                  <a:pt x="666202" y="500625"/>
                </a:lnTo>
                <a:lnTo>
                  <a:pt x="634109" y="509385"/>
                </a:lnTo>
                <a:lnTo>
                  <a:pt x="600712" y="516705"/>
                </a:lnTo>
                <a:lnTo>
                  <a:pt x="566128" y="522517"/>
                </a:lnTo>
                <a:lnTo>
                  <a:pt x="530477" y="526753"/>
                </a:lnTo>
                <a:lnTo>
                  <a:pt x="493874" y="529345"/>
                </a:lnTo>
                <a:lnTo>
                  <a:pt x="456438" y="530225"/>
                </a:lnTo>
                <a:lnTo>
                  <a:pt x="419001" y="529345"/>
                </a:lnTo>
                <a:lnTo>
                  <a:pt x="382398" y="526753"/>
                </a:lnTo>
                <a:lnTo>
                  <a:pt x="346747" y="522517"/>
                </a:lnTo>
                <a:lnTo>
                  <a:pt x="312163" y="516705"/>
                </a:lnTo>
                <a:lnTo>
                  <a:pt x="278766" y="509385"/>
                </a:lnTo>
                <a:lnTo>
                  <a:pt x="246673" y="500625"/>
                </a:lnTo>
                <a:lnTo>
                  <a:pt x="216000" y="490495"/>
                </a:lnTo>
                <a:lnTo>
                  <a:pt x="186866" y="479063"/>
                </a:lnTo>
                <a:lnTo>
                  <a:pt x="159388" y="466396"/>
                </a:lnTo>
                <a:lnTo>
                  <a:pt x="133683" y="452564"/>
                </a:lnTo>
                <a:lnTo>
                  <a:pt x="109869" y="437634"/>
                </a:lnTo>
                <a:lnTo>
                  <a:pt x="88062" y="421676"/>
                </a:lnTo>
                <a:lnTo>
                  <a:pt x="68382" y="404757"/>
                </a:lnTo>
                <a:lnTo>
                  <a:pt x="50944" y="386946"/>
                </a:lnTo>
                <a:lnTo>
                  <a:pt x="35867" y="368311"/>
                </a:lnTo>
                <a:lnTo>
                  <a:pt x="23268" y="348921"/>
                </a:lnTo>
                <a:lnTo>
                  <a:pt x="13264" y="328844"/>
                </a:lnTo>
                <a:lnTo>
                  <a:pt x="5973" y="308149"/>
                </a:lnTo>
                <a:lnTo>
                  <a:pt x="1512" y="286903"/>
                </a:lnTo>
                <a:lnTo>
                  <a:pt x="0" y="265175"/>
                </a:lnTo>
                <a:close/>
              </a:path>
            </a:pathLst>
          </a:custGeom>
          <a:ln w="31750">
            <a:solidFill>
              <a:srgbClr val="6699C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34" name="object 334"/>
          <p:cNvSpPr/>
          <p:nvPr/>
        </p:nvSpPr>
        <p:spPr>
          <a:xfrm>
            <a:off x="2358898" y="1281000"/>
            <a:ext cx="182562" cy="134354"/>
          </a:xfrm>
          <a:custGeom>
            <a:avLst/>
            <a:gdLst/>
            <a:ahLst/>
            <a:cxnLst/>
            <a:rect l="l" t="t" r="r" b="b"/>
            <a:pathLst>
              <a:path w="182562" h="179387">
                <a:moveTo>
                  <a:pt x="0" y="179387"/>
                </a:moveTo>
                <a:lnTo>
                  <a:pt x="182562" y="179387"/>
                </a:lnTo>
                <a:lnTo>
                  <a:pt x="182562" y="0"/>
                </a:lnTo>
                <a:lnTo>
                  <a:pt x="0" y="0"/>
                </a:lnTo>
                <a:lnTo>
                  <a:pt x="0" y="179387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35" name="object 335"/>
          <p:cNvSpPr/>
          <p:nvPr/>
        </p:nvSpPr>
        <p:spPr>
          <a:xfrm>
            <a:off x="3970148" y="1278575"/>
            <a:ext cx="179387" cy="135543"/>
          </a:xfrm>
          <a:custGeom>
            <a:avLst/>
            <a:gdLst/>
            <a:ahLst/>
            <a:cxnLst/>
            <a:rect l="l" t="t" r="r" b="b"/>
            <a:pathLst>
              <a:path w="179387" h="180975">
                <a:moveTo>
                  <a:pt x="0" y="180975"/>
                </a:moveTo>
                <a:lnTo>
                  <a:pt x="179387" y="180975"/>
                </a:lnTo>
                <a:lnTo>
                  <a:pt x="179387" y="0"/>
                </a:lnTo>
                <a:lnTo>
                  <a:pt x="0" y="0"/>
                </a:lnTo>
                <a:lnTo>
                  <a:pt x="0" y="180975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36" name="object 336"/>
          <p:cNvSpPr/>
          <p:nvPr/>
        </p:nvSpPr>
        <p:spPr>
          <a:xfrm>
            <a:off x="5603749" y="1283331"/>
            <a:ext cx="180975" cy="135543"/>
          </a:xfrm>
          <a:custGeom>
            <a:avLst/>
            <a:gdLst/>
            <a:ahLst/>
            <a:cxnLst/>
            <a:rect l="l" t="t" r="r" b="b"/>
            <a:pathLst>
              <a:path w="180975" h="180975">
                <a:moveTo>
                  <a:pt x="0" y="180975"/>
                </a:moveTo>
                <a:lnTo>
                  <a:pt x="180975" y="180975"/>
                </a:lnTo>
                <a:lnTo>
                  <a:pt x="180975" y="0"/>
                </a:lnTo>
                <a:lnTo>
                  <a:pt x="0" y="0"/>
                </a:lnTo>
                <a:lnTo>
                  <a:pt x="0" y="180975"/>
                </a:lnTo>
                <a:close/>
              </a:path>
            </a:pathLst>
          </a:custGeom>
          <a:solidFill>
            <a:srgbClr val="FD66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37" name="object 337"/>
          <p:cNvSpPr/>
          <p:nvPr/>
        </p:nvSpPr>
        <p:spPr>
          <a:xfrm>
            <a:off x="2055369" y="3851761"/>
            <a:ext cx="680719" cy="230508"/>
          </a:xfrm>
          <a:custGeom>
            <a:avLst/>
            <a:gdLst/>
            <a:ahLst/>
            <a:cxnLst/>
            <a:rect l="l" t="t" r="r" b="b"/>
            <a:pathLst>
              <a:path w="680719" h="307771">
                <a:moveTo>
                  <a:pt x="0" y="307771"/>
                </a:moveTo>
                <a:lnTo>
                  <a:pt x="680719" y="307771"/>
                </a:lnTo>
                <a:lnTo>
                  <a:pt x="680719" y="0"/>
                </a:lnTo>
                <a:lnTo>
                  <a:pt x="0" y="0"/>
                </a:lnTo>
                <a:lnTo>
                  <a:pt x="0" y="3077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38" name="object 338"/>
          <p:cNvSpPr/>
          <p:nvPr/>
        </p:nvSpPr>
        <p:spPr>
          <a:xfrm>
            <a:off x="3924554" y="3863080"/>
            <a:ext cx="680720" cy="230508"/>
          </a:xfrm>
          <a:custGeom>
            <a:avLst/>
            <a:gdLst/>
            <a:ahLst/>
            <a:cxnLst/>
            <a:rect l="l" t="t" r="r" b="b"/>
            <a:pathLst>
              <a:path w="680720" h="307771">
                <a:moveTo>
                  <a:pt x="0" y="307771"/>
                </a:moveTo>
                <a:lnTo>
                  <a:pt x="680720" y="307771"/>
                </a:lnTo>
                <a:lnTo>
                  <a:pt x="680720" y="0"/>
                </a:lnTo>
                <a:lnTo>
                  <a:pt x="0" y="0"/>
                </a:lnTo>
                <a:lnTo>
                  <a:pt x="0" y="3077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39" name="object 339"/>
          <p:cNvSpPr/>
          <p:nvPr/>
        </p:nvSpPr>
        <p:spPr>
          <a:xfrm>
            <a:off x="5791835" y="3855471"/>
            <a:ext cx="680720" cy="230508"/>
          </a:xfrm>
          <a:custGeom>
            <a:avLst/>
            <a:gdLst/>
            <a:ahLst/>
            <a:cxnLst/>
            <a:rect l="l" t="t" r="r" b="b"/>
            <a:pathLst>
              <a:path w="680720" h="307771">
                <a:moveTo>
                  <a:pt x="0" y="307771"/>
                </a:moveTo>
                <a:lnTo>
                  <a:pt x="680720" y="307771"/>
                </a:lnTo>
                <a:lnTo>
                  <a:pt x="680720" y="0"/>
                </a:lnTo>
                <a:lnTo>
                  <a:pt x="0" y="0"/>
                </a:lnTo>
                <a:lnTo>
                  <a:pt x="0" y="3077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40" name="object 340"/>
          <p:cNvSpPr/>
          <p:nvPr/>
        </p:nvSpPr>
        <p:spPr>
          <a:xfrm>
            <a:off x="7687818" y="3863080"/>
            <a:ext cx="680720" cy="230508"/>
          </a:xfrm>
          <a:custGeom>
            <a:avLst/>
            <a:gdLst/>
            <a:ahLst/>
            <a:cxnLst/>
            <a:rect l="l" t="t" r="r" b="b"/>
            <a:pathLst>
              <a:path w="680720" h="307771">
                <a:moveTo>
                  <a:pt x="0" y="307771"/>
                </a:moveTo>
                <a:lnTo>
                  <a:pt x="680720" y="307771"/>
                </a:lnTo>
                <a:lnTo>
                  <a:pt x="680720" y="0"/>
                </a:lnTo>
                <a:lnTo>
                  <a:pt x="0" y="0"/>
                </a:lnTo>
                <a:lnTo>
                  <a:pt x="0" y="3077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41" name="object 341"/>
          <p:cNvSpPr/>
          <p:nvPr/>
        </p:nvSpPr>
        <p:spPr>
          <a:xfrm>
            <a:off x="5772913" y="2369578"/>
            <a:ext cx="624839" cy="65288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42" name="object 342"/>
          <p:cNvSpPr/>
          <p:nvPr/>
        </p:nvSpPr>
        <p:spPr>
          <a:xfrm>
            <a:off x="5956682" y="2491994"/>
            <a:ext cx="397891" cy="483960"/>
          </a:xfrm>
          <a:custGeom>
            <a:avLst/>
            <a:gdLst/>
            <a:ahLst/>
            <a:cxnLst/>
            <a:rect l="l" t="t" r="r" b="b"/>
            <a:pathLst>
              <a:path w="397891" h="646176">
                <a:moveTo>
                  <a:pt x="2667" y="35178"/>
                </a:moveTo>
                <a:lnTo>
                  <a:pt x="29845" y="18796"/>
                </a:lnTo>
                <a:lnTo>
                  <a:pt x="0" y="0"/>
                </a:lnTo>
                <a:lnTo>
                  <a:pt x="1905" y="137540"/>
                </a:lnTo>
                <a:lnTo>
                  <a:pt x="2032" y="146303"/>
                </a:lnTo>
                <a:lnTo>
                  <a:pt x="9271" y="153288"/>
                </a:lnTo>
                <a:lnTo>
                  <a:pt x="2667" y="35178"/>
                </a:lnTo>
                <a:close/>
              </a:path>
              <a:path w="397891" h="646176">
                <a:moveTo>
                  <a:pt x="105880" y="94160"/>
                </a:moveTo>
                <a:lnTo>
                  <a:pt x="117709" y="95081"/>
                </a:lnTo>
                <a:lnTo>
                  <a:pt x="126873" y="87629"/>
                </a:lnTo>
                <a:lnTo>
                  <a:pt x="127211" y="86969"/>
                </a:lnTo>
                <a:lnTo>
                  <a:pt x="128074" y="75172"/>
                </a:lnTo>
                <a:lnTo>
                  <a:pt x="120523" y="66039"/>
                </a:lnTo>
                <a:lnTo>
                  <a:pt x="0" y="0"/>
                </a:lnTo>
                <a:lnTo>
                  <a:pt x="29845" y="18796"/>
                </a:lnTo>
                <a:lnTo>
                  <a:pt x="2667" y="35178"/>
                </a:lnTo>
                <a:lnTo>
                  <a:pt x="9271" y="153288"/>
                </a:lnTo>
                <a:lnTo>
                  <a:pt x="26797" y="153035"/>
                </a:lnTo>
                <a:lnTo>
                  <a:pt x="33782" y="145796"/>
                </a:lnTo>
                <a:lnTo>
                  <a:pt x="33655" y="137032"/>
                </a:lnTo>
                <a:lnTo>
                  <a:pt x="32941" y="85438"/>
                </a:lnTo>
                <a:lnTo>
                  <a:pt x="8636" y="41021"/>
                </a:lnTo>
                <a:lnTo>
                  <a:pt x="32131" y="26797"/>
                </a:lnTo>
                <a:lnTo>
                  <a:pt x="32508" y="54070"/>
                </a:lnTo>
                <a:lnTo>
                  <a:pt x="8636" y="41021"/>
                </a:lnTo>
                <a:lnTo>
                  <a:pt x="32941" y="85438"/>
                </a:lnTo>
                <a:lnTo>
                  <a:pt x="370713" y="646176"/>
                </a:lnTo>
                <a:lnTo>
                  <a:pt x="397891" y="629793"/>
                </a:lnTo>
                <a:lnTo>
                  <a:pt x="60217" y="69218"/>
                </a:lnTo>
                <a:lnTo>
                  <a:pt x="105283" y="93852"/>
                </a:lnTo>
                <a:lnTo>
                  <a:pt x="105880" y="94160"/>
                </a:lnTo>
                <a:close/>
              </a:path>
              <a:path w="397891" h="646176">
                <a:moveTo>
                  <a:pt x="32508" y="54070"/>
                </a:moveTo>
                <a:lnTo>
                  <a:pt x="32131" y="26797"/>
                </a:lnTo>
                <a:lnTo>
                  <a:pt x="8636" y="41021"/>
                </a:lnTo>
                <a:lnTo>
                  <a:pt x="32508" y="54070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43" name="object 343"/>
          <p:cNvSpPr/>
          <p:nvPr/>
        </p:nvSpPr>
        <p:spPr>
          <a:xfrm>
            <a:off x="7642860" y="1696142"/>
            <a:ext cx="443483" cy="91769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44" name="object 344"/>
          <p:cNvSpPr/>
          <p:nvPr/>
        </p:nvSpPr>
        <p:spPr>
          <a:xfrm>
            <a:off x="7782686" y="1819414"/>
            <a:ext cx="261112" cy="747532"/>
          </a:xfrm>
          <a:custGeom>
            <a:avLst/>
            <a:gdLst/>
            <a:ahLst/>
            <a:cxnLst/>
            <a:rect l="l" t="t" r="r" b="b"/>
            <a:pathLst>
              <a:path w="261112" h="998093">
                <a:moveTo>
                  <a:pt x="229997" y="998093"/>
                </a:moveTo>
                <a:lnTo>
                  <a:pt x="261112" y="991870"/>
                </a:lnTo>
                <a:lnTo>
                  <a:pt x="77793" y="85191"/>
                </a:lnTo>
                <a:lnTo>
                  <a:pt x="56872" y="61735"/>
                </a:lnTo>
                <a:lnTo>
                  <a:pt x="46694" y="91613"/>
                </a:lnTo>
                <a:lnTo>
                  <a:pt x="229997" y="998093"/>
                </a:lnTo>
                <a:close/>
              </a:path>
              <a:path w="261112" h="998093">
                <a:moveTo>
                  <a:pt x="22025" y="149420"/>
                </a:moveTo>
                <a:lnTo>
                  <a:pt x="30099" y="140335"/>
                </a:lnTo>
                <a:lnTo>
                  <a:pt x="46694" y="91613"/>
                </a:lnTo>
                <a:lnTo>
                  <a:pt x="56872" y="61735"/>
                </a:lnTo>
                <a:lnTo>
                  <a:pt x="77793" y="85191"/>
                </a:lnTo>
                <a:lnTo>
                  <a:pt x="112141" y="123698"/>
                </a:lnTo>
                <a:lnTo>
                  <a:pt x="112482" y="124072"/>
                </a:lnTo>
                <a:lnTo>
                  <a:pt x="123312" y="129076"/>
                </a:lnTo>
                <a:lnTo>
                  <a:pt x="134493" y="125095"/>
                </a:lnTo>
                <a:lnTo>
                  <a:pt x="134900" y="124721"/>
                </a:lnTo>
                <a:lnTo>
                  <a:pt x="139807" y="113885"/>
                </a:lnTo>
                <a:lnTo>
                  <a:pt x="135763" y="102616"/>
                </a:lnTo>
                <a:lnTo>
                  <a:pt x="44450" y="0"/>
                </a:lnTo>
                <a:lnTo>
                  <a:pt x="66167" y="27686"/>
                </a:lnTo>
                <a:lnTo>
                  <a:pt x="65659" y="35941"/>
                </a:lnTo>
                <a:lnTo>
                  <a:pt x="38735" y="41402"/>
                </a:lnTo>
                <a:lnTo>
                  <a:pt x="35052" y="34036"/>
                </a:lnTo>
                <a:lnTo>
                  <a:pt x="820" y="142262"/>
                </a:lnTo>
                <a:lnTo>
                  <a:pt x="9906" y="150241"/>
                </a:lnTo>
                <a:lnTo>
                  <a:pt x="22025" y="149420"/>
                </a:lnTo>
                <a:close/>
              </a:path>
              <a:path w="261112" h="998093">
                <a:moveTo>
                  <a:pt x="0" y="130048"/>
                </a:moveTo>
                <a:lnTo>
                  <a:pt x="820" y="142262"/>
                </a:lnTo>
                <a:lnTo>
                  <a:pt x="35052" y="34036"/>
                </a:lnTo>
                <a:lnTo>
                  <a:pt x="38735" y="41402"/>
                </a:lnTo>
                <a:lnTo>
                  <a:pt x="65659" y="35941"/>
                </a:lnTo>
                <a:lnTo>
                  <a:pt x="66167" y="27686"/>
                </a:lnTo>
                <a:lnTo>
                  <a:pt x="44450" y="0"/>
                </a:lnTo>
                <a:lnTo>
                  <a:pt x="0" y="130048"/>
                </a:lnTo>
                <a:close/>
              </a:path>
            </a:pathLst>
          </a:custGeom>
          <a:solidFill>
            <a:srgbClr val="D30027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5" name="object 155"/>
          <p:cNvSpPr/>
          <p:nvPr/>
        </p:nvSpPr>
        <p:spPr>
          <a:xfrm>
            <a:off x="0" y="513636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685D54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0" y="513636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685D54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0" y="513636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685D54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0" y="513636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1270">
            <a:solidFill>
              <a:srgbClr val="685D54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1" name="object 151"/>
          <p:cNvSpPr txBox="1"/>
          <p:nvPr/>
        </p:nvSpPr>
        <p:spPr>
          <a:xfrm>
            <a:off x="535941" y="202826"/>
            <a:ext cx="5042627" cy="28497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960"/>
              </a:lnSpc>
              <a:spcBef>
                <a:spcPts val="148"/>
              </a:spcBef>
            </a:pPr>
            <a:r>
              <a:rPr lang="fr-BE" sz="2800" spc="-21" dirty="0" smtClean="0">
                <a:solidFill>
                  <a:srgbClr val="DD1812"/>
                </a:solidFill>
                <a:latin typeface="Arial"/>
                <a:cs typeface="Arial"/>
              </a:rPr>
              <a:t>Data in </a:t>
            </a:r>
            <a:r>
              <a:rPr lang="fr-BE" sz="2800" spc="-21" dirty="0" err="1" smtClean="0">
                <a:solidFill>
                  <a:srgbClr val="DD1812"/>
                </a:solidFill>
                <a:latin typeface="Arial"/>
                <a:cs typeface="Arial"/>
              </a:rPr>
              <a:t>adults</a:t>
            </a:r>
            <a:r>
              <a:rPr sz="2800" spc="-39" dirty="0" smtClean="0">
                <a:solidFill>
                  <a:srgbClr val="DD1812"/>
                </a:solidFill>
                <a:latin typeface="Arial"/>
                <a:cs typeface="Arial"/>
              </a:rPr>
              <a:t> </a:t>
            </a:r>
            <a:r>
              <a:rPr sz="2000" dirty="0" smtClean="0">
                <a:solidFill>
                  <a:srgbClr val="404040"/>
                </a:solidFill>
                <a:latin typeface="Arial"/>
                <a:cs typeface="Arial"/>
              </a:rPr>
              <a:t>(</a:t>
            </a:r>
            <a:r>
              <a:rPr sz="2000" spc="4" dirty="0" smtClean="0">
                <a:solidFill>
                  <a:srgbClr val="404040"/>
                </a:solidFill>
                <a:latin typeface="Arial"/>
                <a:cs typeface="Arial"/>
              </a:rPr>
              <a:t>≥</a:t>
            </a:r>
            <a:r>
              <a:rPr sz="2000" dirty="0" smtClean="0">
                <a:solidFill>
                  <a:srgbClr val="404040"/>
                </a:solidFill>
                <a:latin typeface="Arial"/>
                <a:cs typeface="Arial"/>
              </a:rPr>
              <a:t>18</a:t>
            </a:r>
            <a:r>
              <a:rPr sz="2000" spc="-19" dirty="0" smtClean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lang="fr-BE" sz="2000" spc="-19" dirty="0" smtClean="0">
                <a:solidFill>
                  <a:srgbClr val="404040"/>
                </a:solidFill>
                <a:latin typeface="Arial"/>
                <a:cs typeface="Arial"/>
              </a:rPr>
              <a:t>y</a:t>
            </a:r>
            <a:r>
              <a:rPr sz="2000" dirty="0" smtClean="0">
                <a:solidFill>
                  <a:srgbClr val="404040"/>
                </a:solidFill>
                <a:latin typeface="Arial"/>
                <a:cs typeface="Arial"/>
              </a:rPr>
              <a:t>)</a:t>
            </a:r>
            <a:endParaRPr sz="20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0" name="object 150"/>
          <p:cNvSpPr txBox="1"/>
          <p:nvPr/>
        </p:nvSpPr>
        <p:spPr>
          <a:xfrm>
            <a:off x="535940" y="516608"/>
            <a:ext cx="7092848" cy="2473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sz="2400" dirty="0" smtClean="0">
                <a:solidFill>
                  <a:srgbClr val="404040"/>
                </a:solidFill>
                <a:latin typeface="Arial"/>
                <a:cs typeface="Arial"/>
              </a:rPr>
              <a:t>H</a:t>
            </a:r>
            <a:r>
              <a:rPr sz="2400" spc="-4" dirty="0" smtClean="0">
                <a:solidFill>
                  <a:srgbClr val="404040"/>
                </a:solidFill>
                <a:latin typeface="Arial"/>
                <a:cs typeface="Arial"/>
              </a:rPr>
              <a:t>a</a:t>
            </a:r>
            <a:r>
              <a:rPr sz="2400" dirty="0" smtClean="0">
                <a:solidFill>
                  <a:srgbClr val="404040"/>
                </a:solidFill>
                <a:latin typeface="Arial"/>
                <a:cs typeface="Arial"/>
              </a:rPr>
              <a:t>emagg</a:t>
            </a:r>
            <a:r>
              <a:rPr sz="2400" spc="-9" dirty="0" smtClean="0">
                <a:solidFill>
                  <a:srgbClr val="404040"/>
                </a:solidFill>
                <a:latin typeface="Arial"/>
                <a:cs typeface="Arial"/>
              </a:rPr>
              <a:t>l</a:t>
            </a:r>
            <a:r>
              <a:rPr sz="2400" dirty="0" smtClean="0">
                <a:solidFill>
                  <a:srgbClr val="404040"/>
                </a:solidFill>
                <a:latin typeface="Arial"/>
                <a:cs typeface="Arial"/>
              </a:rPr>
              <a:t>utin</a:t>
            </a:r>
            <a:r>
              <a:rPr sz="2400" spc="-4" dirty="0" smtClean="0">
                <a:solidFill>
                  <a:srgbClr val="404040"/>
                </a:solidFill>
                <a:latin typeface="Arial"/>
                <a:cs typeface="Arial"/>
              </a:rPr>
              <a:t>a</a:t>
            </a:r>
            <a:r>
              <a:rPr sz="2400" dirty="0" smtClean="0">
                <a:solidFill>
                  <a:srgbClr val="404040"/>
                </a:solidFill>
                <a:latin typeface="Arial"/>
                <a:cs typeface="Arial"/>
              </a:rPr>
              <a:t>ti</a:t>
            </a:r>
            <a:r>
              <a:rPr sz="2400" spc="4" dirty="0" smtClean="0">
                <a:solidFill>
                  <a:srgbClr val="404040"/>
                </a:solidFill>
                <a:latin typeface="Arial"/>
                <a:cs typeface="Arial"/>
              </a:rPr>
              <a:t>on-i</a:t>
            </a:r>
            <a:r>
              <a:rPr sz="2400" dirty="0" smtClean="0">
                <a:solidFill>
                  <a:srgbClr val="404040"/>
                </a:solidFill>
                <a:latin typeface="Arial"/>
                <a:cs typeface="Arial"/>
              </a:rPr>
              <a:t>n</a:t>
            </a:r>
            <a:r>
              <a:rPr sz="2400" spc="4" dirty="0" smtClean="0">
                <a:solidFill>
                  <a:srgbClr val="404040"/>
                </a:solidFill>
                <a:latin typeface="Arial"/>
                <a:cs typeface="Arial"/>
              </a:rPr>
              <a:t>h</a:t>
            </a:r>
            <a:r>
              <a:rPr sz="2400" dirty="0" smtClean="0">
                <a:solidFill>
                  <a:srgbClr val="404040"/>
                </a:solidFill>
                <a:latin typeface="Arial"/>
                <a:cs typeface="Arial"/>
              </a:rPr>
              <a:t>ibit</a:t>
            </a:r>
            <a:r>
              <a:rPr sz="2400" spc="9" dirty="0" smtClean="0">
                <a:solidFill>
                  <a:srgbClr val="404040"/>
                </a:solidFill>
                <a:latin typeface="Arial"/>
                <a:cs typeface="Arial"/>
              </a:rPr>
              <a:t>i</a:t>
            </a:r>
            <a:r>
              <a:rPr sz="2400" dirty="0" smtClean="0">
                <a:solidFill>
                  <a:srgbClr val="404040"/>
                </a:solidFill>
                <a:latin typeface="Arial"/>
                <a:cs typeface="Arial"/>
              </a:rPr>
              <a:t>on</a:t>
            </a:r>
            <a:r>
              <a:rPr sz="2400" spc="34" dirty="0" smtClean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dirty="0" smtClean="0">
                <a:solidFill>
                  <a:srgbClr val="404040"/>
                </a:solidFill>
                <a:latin typeface="Arial"/>
                <a:cs typeface="Arial"/>
              </a:rPr>
              <a:t>(HI)</a:t>
            </a:r>
            <a:r>
              <a:rPr sz="2400" spc="14" dirty="0" smtClean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dirty="0" smtClean="0">
                <a:solidFill>
                  <a:srgbClr val="404040"/>
                </a:solidFill>
                <a:latin typeface="Arial"/>
                <a:cs typeface="Arial"/>
              </a:rPr>
              <a:t>anti</a:t>
            </a:r>
            <a:r>
              <a:rPr sz="2400" spc="-4" dirty="0" smtClean="0">
                <a:solidFill>
                  <a:srgbClr val="404040"/>
                </a:solidFill>
                <a:latin typeface="Arial"/>
                <a:cs typeface="Arial"/>
              </a:rPr>
              <a:t>b</a:t>
            </a:r>
            <a:r>
              <a:rPr sz="2400" dirty="0" smtClean="0">
                <a:solidFill>
                  <a:srgbClr val="404040"/>
                </a:solidFill>
                <a:latin typeface="Arial"/>
                <a:cs typeface="Arial"/>
              </a:rPr>
              <a:t>ody</a:t>
            </a:r>
            <a:r>
              <a:rPr sz="2400" spc="14" dirty="0" smtClean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r>
              <a:rPr sz="2400" dirty="0" smtClean="0">
                <a:solidFill>
                  <a:srgbClr val="404040"/>
                </a:solidFill>
                <a:latin typeface="Arial"/>
                <a:cs typeface="Arial"/>
              </a:rPr>
              <a:t>response</a:t>
            </a:r>
            <a:endParaRPr sz="2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9" name="object 149"/>
          <p:cNvSpPr txBox="1"/>
          <p:nvPr/>
        </p:nvSpPr>
        <p:spPr>
          <a:xfrm>
            <a:off x="2580260" y="1254741"/>
            <a:ext cx="695045" cy="1902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b="1" spc="-4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b="1" dirty="0" smtClean="0">
                <a:solidFill>
                  <a:prstClr val="black"/>
                </a:solidFill>
                <a:latin typeface="Arial"/>
                <a:cs typeface="Arial"/>
              </a:rPr>
              <a:t>-Q</a:t>
            </a:r>
            <a:r>
              <a:rPr b="1" spc="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b="1" dirty="0" smtClean="0">
                <a:solidFill>
                  <a:prstClr val="black"/>
                </a:solidFill>
                <a:latin typeface="Arial"/>
                <a:cs typeface="Arial"/>
              </a:rPr>
              <a:t>V</a:t>
            </a:r>
            <a:endParaRPr b="1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8" name="object 148"/>
          <p:cNvSpPr txBox="1"/>
          <p:nvPr/>
        </p:nvSpPr>
        <p:spPr>
          <a:xfrm>
            <a:off x="4199001" y="1254741"/>
            <a:ext cx="942314" cy="1902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pc="1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dirty="0" smtClean="0">
                <a:solidFill>
                  <a:prstClr val="black"/>
                </a:solidFill>
                <a:latin typeface="Arial"/>
                <a:cs typeface="Arial"/>
              </a:rPr>
              <a:t>IV</a:t>
            </a:r>
            <a:r>
              <a:rPr spc="-25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dirty="0" smtClean="0">
                <a:solidFill>
                  <a:prstClr val="black"/>
                </a:solidFill>
                <a:latin typeface="Arial"/>
                <a:cs typeface="Arial"/>
              </a:rPr>
              <a:t>(</a:t>
            </a:r>
            <a:r>
              <a:rPr spc="-34" dirty="0" smtClean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dirty="0" smtClean="0">
                <a:solidFill>
                  <a:prstClr val="black"/>
                </a:solidFill>
                <a:latin typeface="Arial"/>
                <a:cs typeface="Arial"/>
              </a:rPr>
              <a:t>ic)</a:t>
            </a:r>
            <a:endParaRPr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7" name="object 147"/>
          <p:cNvSpPr txBox="1"/>
          <p:nvPr/>
        </p:nvSpPr>
        <p:spPr>
          <a:xfrm>
            <a:off x="5807203" y="1254741"/>
            <a:ext cx="1082675" cy="1902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939"/>
              </a:lnSpc>
              <a:spcBef>
                <a:spcPts val="97"/>
              </a:spcBef>
            </a:pPr>
            <a:r>
              <a:rPr spc="1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dirty="0" smtClean="0">
                <a:solidFill>
                  <a:prstClr val="black"/>
                </a:solidFill>
                <a:latin typeface="Arial"/>
                <a:cs typeface="Arial"/>
              </a:rPr>
              <a:t>IV</a:t>
            </a:r>
            <a:r>
              <a:rPr spc="-25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dirty="0" smtClean="0">
                <a:solidFill>
                  <a:prstClr val="black"/>
                </a:solidFill>
                <a:latin typeface="Arial"/>
                <a:cs typeface="Arial"/>
              </a:rPr>
              <a:t>(</a:t>
            </a:r>
            <a:r>
              <a:rPr spc="-129" dirty="0" smtClean="0">
                <a:solidFill>
                  <a:prstClr val="black"/>
                </a:solidFill>
                <a:latin typeface="Arial"/>
                <a:cs typeface="Arial"/>
              </a:rPr>
              <a:t>Y</a:t>
            </a:r>
            <a:r>
              <a:rPr dirty="0" smtClean="0">
                <a:solidFill>
                  <a:prstClr val="black"/>
                </a:solidFill>
                <a:latin typeface="Arial"/>
                <a:cs typeface="Arial"/>
              </a:rPr>
              <a:t>am)</a:t>
            </a:r>
            <a:endParaRPr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6" name="object 146"/>
          <p:cNvSpPr txBox="1"/>
          <p:nvPr/>
        </p:nvSpPr>
        <p:spPr>
          <a:xfrm>
            <a:off x="560324" y="1425657"/>
            <a:ext cx="349326" cy="1525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70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5" name="object 145"/>
          <p:cNvSpPr txBox="1"/>
          <p:nvPr/>
        </p:nvSpPr>
        <p:spPr>
          <a:xfrm>
            <a:off x="560325" y="1756292"/>
            <a:ext cx="349371" cy="1527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60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4" name="object 144"/>
          <p:cNvSpPr txBox="1"/>
          <p:nvPr/>
        </p:nvSpPr>
        <p:spPr>
          <a:xfrm>
            <a:off x="560324" y="2087487"/>
            <a:ext cx="349326" cy="1525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50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3" name="object 143"/>
          <p:cNvSpPr txBox="1"/>
          <p:nvPr/>
        </p:nvSpPr>
        <p:spPr>
          <a:xfrm>
            <a:off x="560324" y="2418307"/>
            <a:ext cx="349326" cy="1525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40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2" name="object 142"/>
          <p:cNvSpPr txBox="1"/>
          <p:nvPr/>
        </p:nvSpPr>
        <p:spPr>
          <a:xfrm>
            <a:off x="560324" y="2749033"/>
            <a:ext cx="349326" cy="1525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30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1" name="object 141"/>
          <p:cNvSpPr txBox="1"/>
          <p:nvPr/>
        </p:nvSpPr>
        <p:spPr>
          <a:xfrm>
            <a:off x="560324" y="3079853"/>
            <a:ext cx="349326" cy="1525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20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0" name="object 140"/>
          <p:cNvSpPr txBox="1"/>
          <p:nvPr/>
        </p:nvSpPr>
        <p:spPr>
          <a:xfrm>
            <a:off x="560324" y="3410578"/>
            <a:ext cx="349326" cy="1525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10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9" name="object 139"/>
          <p:cNvSpPr txBox="1"/>
          <p:nvPr/>
        </p:nvSpPr>
        <p:spPr>
          <a:xfrm>
            <a:off x="758140" y="3741398"/>
            <a:ext cx="151285" cy="1525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8" name="object 138"/>
          <p:cNvSpPr txBox="1"/>
          <p:nvPr/>
        </p:nvSpPr>
        <p:spPr>
          <a:xfrm>
            <a:off x="467055" y="4361414"/>
            <a:ext cx="6599323" cy="3123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Per</a:t>
            </a:r>
            <a:r>
              <a:rPr sz="1400" spc="-1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pro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o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c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ol</a:t>
            </a:r>
            <a:r>
              <a:rPr sz="1400" spc="-50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mm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unogenici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y</a:t>
            </a:r>
            <a:r>
              <a:rPr sz="1400" spc="-3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c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ohor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:</a:t>
            </a:r>
            <a:r>
              <a:rPr sz="1400" spc="-3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-Q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sz="1400" spc="-1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n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=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1809,</a:t>
            </a:r>
            <a:r>
              <a:rPr sz="1400" spc="-5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400" spc="-69" dirty="0" smtClean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400" spc="-25" dirty="0" smtClean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ic</a:t>
            </a:r>
            <a:r>
              <a:rPr sz="1400" spc="-25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n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=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608,</a:t>
            </a:r>
            <a:r>
              <a:rPr sz="1400" spc="-5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400" spc="-64" dirty="0" smtClean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400" spc="-119" dirty="0" smtClean="0">
                <a:solidFill>
                  <a:prstClr val="black"/>
                </a:solidFill>
                <a:latin typeface="Arial"/>
                <a:cs typeface="Arial"/>
              </a:rPr>
              <a:t>Y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am</a:t>
            </a:r>
            <a:r>
              <a:rPr sz="1400" spc="-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n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=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534</a:t>
            </a:r>
            <a:endParaRPr sz="14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2700" marR="26746">
              <a:lnSpc>
                <a:spcPct val="95825"/>
              </a:lnSpc>
            </a:pP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ay</a:t>
            </a:r>
            <a:r>
              <a:rPr sz="1400" spc="-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400" spc="-1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(P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R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E) and</a:t>
            </a:r>
            <a:r>
              <a:rPr sz="1400" spc="-1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ay 21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(POS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)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.</a:t>
            </a:r>
            <a:endParaRPr sz="14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7" name="object 137"/>
          <p:cNvSpPr txBox="1"/>
          <p:nvPr/>
        </p:nvSpPr>
        <p:spPr>
          <a:xfrm>
            <a:off x="38202" y="5010366"/>
            <a:ext cx="3573779" cy="1137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spc="4" dirty="0" smtClean="0">
                <a:solidFill>
                  <a:prstClr val="black"/>
                </a:solidFill>
                <a:latin typeface="Arial"/>
                <a:cs typeface="Arial"/>
              </a:rPr>
              <a:t>(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pt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000" spc="-65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spc="9" dirty="0" smtClean="0">
                <a:solidFill>
                  <a:prstClr val="black"/>
                </a:solidFill>
                <a:latin typeface="Arial"/>
                <a:cs typeface="Arial"/>
              </a:rPr>
              <a:t>f</a:t>
            </a:r>
            <a:r>
              <a:rPr sz="1000" spc="4" dirty="0" smtClean="0">
                <a:solidFill>
                  <a:prstClr val="black"/>
                </a:solidFill>
                <a:latin typeface="Arial"/>
                <a:cs typeface="Arial"/>
              </a:rPr>
              <a:t>r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o</a:t>
            </a:r>
            <a:r>
              <a:rPr sz="1000" spc="19" dirty="0" smtClean="0">
                <a:solidFill>
                  <a:prstClr val="black"/>
                </a:solidFill>
                <a:latin typeface="Arial"/>
                <a:cs typeface="Arial"/>
              </a:rPr>
              <a:t>m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)</a:t>
            </a:r>
            <a:r>
              <a:rPr sz="1000" spc="-43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Ki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ni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n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g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er</a:t>
            </a:r>
            <a:r>
              <a:rPr sz="1000" spc="-22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000" spc="-7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et</a:t>
            </a:r>
            <a:r>
              <a:rPr sz="1000" i="1" spc="-13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1000" i="1" spc="-4" dirty="0" smtClean="0">
                <a:solidFill>
                  <a:prstClr val="black"/>
                </a:solidFill>
                <a:latin typeface="Arial"/>
                <a:cs typeface="Arial"/>
              </a:rPr>
              <a:t>l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.</a:t>
            </a:r>
            <a:r>
              <a:rPr sz="1000" i="1" spc="-10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i="1" spc="-4" dirty="0" smtClean="0">
                <a:solidFill>
                  <a:prstClr val="black"/>
                </a:solidFill>
                <a:latin typeface="Arial"/>
                <a:cs typeface="Arial"/>
              </a:rPr>
              <a:t>B</a:t>
            </a:r>
            <a:r>
              <a:rPr sz="1000" i="1" spc="-14" dirty="0" smtClean="0">
                <a:solidFill>
                  <a:prstClr val="black"/>
                </a:solidFill>
                <a:latin typeface="Arial"/>
                <a:cs typeface="Arial"/>
              </a:rPr>
              <a:t>M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C</a:t>
            </a:r>
            <a:r>
              <a:rPr sz="1000" i="1" spc="12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In</a:t>
            </a:r>
            <a:r>
              <a:rPr sz="1000" i="1" spc="-4" dirty="0" smtClean="0">
                <a:solidFill>
                  <a:prstClr val="black"/>
                </a:solidFill>
                <a:latin typeface="Arial"/>
                <a:cs typeface="Arial"/>
              </a:rPr>
              <a:t>f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1000" i="1" spc="4" dirty="0" smtClean="0">
                <a:solidFill>
                  <a:prstClr val="black"/>
                </a:solidFill>
                <a:latin typeface="Arial"/>
                <a:cs typeface="Arial"/>
              </a:rPr>
              <a:t>c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000" i="1" spc="-3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000" i="1" spc="-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1000" i="1" spc="-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2013;</a:t>
            </a:r>
            <a:r>
              <a:rPr sz="1000" spc="-2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13:343.</a:t>
            </a:r>
            <a:endParaRPr sz="10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6" name="object 136"/>
          <p:cNvSpPr txBox="1"/>
          <p:nvPr/>
        </p:nvSpPr>
        <p:spPr>
          <a:xfrm rot="5400000">
            <a:off x="8385669" y="3886732"/>
            <a:ext cx="1293848" cy="1295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BE/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FL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U/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0013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/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15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(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900" spc="9" dirty="0" smtClean="0">
                <a:solidFill>
                  <a:prstClr val="black"/>
                </a:solidFill>
                <a:latin typeface="Arial"/>
                <a:cs typeface="Arial"/>
              </a:rPr>
              <a:t>)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900" spc="-4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ugus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900" spc="-1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201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5</a:t>
            </a:r>
            <a:endParaRPr sz="9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5" name="object 135"/>
          <p:cNvSpPr txBox="1"/>
          <p:nvPr/>
        </p:nvSpPr>
        <p:spPr>
          <a:xfrm rot="16200000">
            <a:off x="363611" y="2455532"/>
            <a:ext cx="2169617" cy="2197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730"/>
              </a:lnSpc>
              <a:spcBef>
                <a:spcPts val="86"/>
              </a:spcBef>
            </a:pPr>
            <a:r>
              <a:rPr sz="1600" spc="-4" dirty="0" smtClean="0">
                <a:solidFill>
                  <a:prstClr val="black"/>
                </a:solidFill>
                <a:latin typeface="Arial"/>
                <a:cs typeface="Arial"/>
              </a:rPr>
              <a:t>G</a:t>
            </a:r>
            <a:r>
              <a:rPr sz="1600" dirty="0" smtClean="0">
                <a:solidFill>
                  <a:prstClr val="black"/>
                </a:solidFill>
                <a:latin typeface="Arial"/>
                <a:cs typeface="Arial"/>
              </a:rPr>
              <a:t>eometr</a:t>
            </a:r>
            <a:r>
              <a:rPr sz="1600" spc="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600" dirty="0" smtClean="0">
                <a:solidFill>
                  <a:prstClr val="black"/>
                </a:solidFill>
                <a:latin typeface="Arial"/>
                <a:cs typeface="Arial"/>
              </a:rPr>
              <a:t>c</a:t>
            </a:r>
            <a:r>
              <a:rPr sz="1600" spc="-58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600" dirty="0" smtClean="0">
                <a:solidFill>
                  <a:prstClr val="black"/>
                </a:solidFill>
                <a:latin typeface="Arial"/>
                <a:cs typeface="Arial"/>
              </a:rPr>
              <a:t>mean</a:t>
            </a:r>
            <a:r>
              <a:rPr sz="1600" spc="-1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600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600" spc="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600" dirty="0" smtClean="0">
                <a:solidFill>
                  <a:prstClr val="black"/>
                </a:solidFill>
                <a:latin typeface="Arial"/>
                <a:cs typeface="Arial"/>
              </a:rPr>
              <a:t>tres</a:t>
            </a:r>
            <a:r>
              <a:rPr sz="1600" spc="-1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600" dirty="0" smtClean="0">
                <a:solidFill>
                  <a:prstClr val="black"/>
                </a:solidFill>
                <a:latin typeface="Arial"/>
                <a:cs typeface="Arial"/>
              </a:rPr>
              <a:t>(95%</a:t>
            </a:r>
            <a:r>
              <a:rPr sz="1600" spc="-17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600" dirty="0" smtClean="0">
                <a:solidFill>
                  <a:prstClr val="black"/>
                </a:solidFill>
                <a:latin typeface="Arial"/>
                <a:cs typeface="Arial"/>
              </a:rPr>
              <a:t>CI)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4" name="object 134"/>
          <p:cNvSpPr txBox="1"/>
          <p:nvPr/>
        </p:nvSpPr>
        <p:spPr>
          <a:xfrm>
            <a:off x="969264" y="1498678"/>
            <a:ext cx="53339" cy="3253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33" name="object 133"/>
          <p:cNvSpPr txBox="1"/>
          <p:nvPr/>
        </p:nvSpPr>
        <p:spPr>
          <a:xfrm>
            <a:off x="1022603" y="1498678"/>
            <a:ext cx="7478268" cy="2267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32" name="object 132"/>
          <p:cNvSpPr txBox="1"/>
          <p:nvPr/>
        </p:nvSpPr>
        <p:spPr>
          <a:xfrm>
            <a:off x="1022603" y="1725438"/>
            <a:ext cx="6803771" cy="9854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31" name="object 131"/>
          <p:cNvSpPr txBox="1"/>
          <p:nvPr/>
        </p:nvSpPr>
        <p:spPr>
          <a:xfrm>
            <a:off x="7826375" y="1725438"/>
            <a:ext cx="415544" cy="9854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30" name="object 130"/>
          <p:cNvSpPr txBox="1"/>
          <p:nvPr/>
        </p:nvSpPr>
        <p:spPr>
          <a:xfrm>
            <a:off x="8241919" y="1715166"/>
            <a:ext cx="258952" cy="1727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29" name="object 129"/>
          <p:cNvSpPr txBox="1"/>
          <p:nvPr/>
        </p:nvSpPr>
        <p:spPr>
          <a:xfrm>
            <a:off x="969264" y="1823981"/>
            <a:ext cx="53339" cy="3367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28" name="object 128"/>
          <p:cNvSpPr txBox="1"/>
          <p:nvPr/>
        </p:nvSpPr>
        <p:spPr>
          <a:xfrm>
            <a:off x="1022604" y="1823981"/>
            <a:ext cx="7219315" cy="59001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27" name="object 127"/>
          <p:cNvSpPr txBox="1"/>
          <p:nvPr/>
        </p:nvSpPr>
        <p:spPr>
          <a:xfrm>
            <a:off x="7722109" y="1823981"/>
            <a:ext cx="104267" cy="942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41"/>
              </a:spcBef>
            </a:pPr>
            <a:endParaRPr sz="950">
              <a:solidFill>
                <a:prstClr val="black"/>
              </a:solidFill>
            </a:endParaRPr>
          </a:p>
        </p:txBody>
      </p:sp>
      <p:sp>
        <p:nvSpPr>
          <p:cNvPr id="126" name="object 126"/>
          <p:cNvSpPr txBox="1"/>
          <p:nvPr/>
        </p:nvSpPr>
        <p:spPr>
          <a:xfrm>
            <a:off x="7826376" y="1823981"/>
            <a:ext cx="104521" cy="942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41"/>
              </a:spcBef>
            </a:pPr>
            <a:endParaRPr sz="950">
              <a:solidFill>
                <a:prstClr val="black"/>
              </a:solidFill>
            </a:endParaRPr>
          </a:p>
        </p:txBody>
      </p:sp>
      <p:sp>
        <p:nvSpPr>
          <p:cNvPr id="125" name="object 125"/>
          <p:cNvSpPr txBox="1"/>
          <p:nvPr/>
        </p:nvSpPr>
        <p:spPr>
          <a:xfrm>
            <a:off x="7930897" y="1823981"/>
            <a:ext cx="311023" cy="639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22"/>
              </a:spcBef>
            </a:pPr>
            <a:endParaRPr sz="650">
              <a:solidFill>
                <a:prstClr val="black"/>
              </a:solidFill>
            </a:endParaRPr>
          </a:p>
        </p:txBody>
      </p:sp>
      <p:sp>
        <p:nvSpPr>
          <p:cNvPr id="124" name="object 124"/>
          <p:cNvSpPr txBox="1"/>
          <p:nvPr/>
        </p:nvSpPr>
        <p:spPr>
          <a:xfrm>
            <a:off x="7930896" y="1887900"/>
            <a:ext cx="569976" cy="5198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23" name="object 123"/>
          <p:cNvSpPr txBox="1"/>
          <p:nvPr/>
        </p:nvSpPr>
        <p:spPr>
          <a:xfrm>
            <a:off x="8138160" y="1887900"/>
            <a:ext cx="103759" cy="1583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22" name="object 122"/>
          <p:cNvSpPr txBox="1"/>
          <p:nvPr/>
        </p:nvSpPr>
        <p:spPr>
          <a:xfrm>
            <a:off x="8241919" y="1887900"/>
            <a:ext cx="103504" cy="1583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21" name="object 121"/>
          <p:cNvSpPr txBox="1"/>
          <p:nvPr/>
        </p:nvSpPr>
        <p:spPr>
          <a:xfrm>
            <a:off x="8345424" y="1887900"/>
            <a:ext cx="155448" cy="1926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20" name="object 120"/>
          <p:cNvSpPr txBox="1"/>
          <p:nvPr/>
        </p:nvSpPr>
        <p:spPr>
          <a:xfrm>
            <a:off x="7722108" y="1918242"/>
            <a:ext cx="208788" cy="18963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19" name="object 119"/>
          <p:cNvSpPr txBox="1"/>
          <p:nvPr/>
        </p:nvSpPr>
        <p:spPr>
          <a:xfrm>
            <a:off x="8138159" y="2046271"/>
            <a:ext cx="207264" cy="17683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969264" y="2160698"/>
            <a:ext cx="53339" cy="31503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17" name="object 117"/>
          <p:cNvSpPr txBox="1"/>
          <p:nvPr/>
        </p:nvSpPr>
        <p:spPr>
          <a:xfrm>
            <a:off x="1022604" y="2413997"/>
            <a:ext cx="4934077" cy="617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48"/>
              </a:spcBef>
            </a:pPr>
            <a:endParaRPr sz="600">
              <a:solidFill>
                <a:prstClr val="black"/>
              </a:solidFill>
            </a:endParaRPr>
          </a:p>
        </p:txBody>
      </p:sp>
      <p:sp>
        <p:nvSpPr>
          <p:cNvPr id="116" name="object 116"/>
          <p:cNvSpPr txBox="1"/>
          <p:nvPr/>
        </p:nvSpPr>
        <p:spPr>
          <a:xfrm>
            <a:off x="5956681" y="2413997"/>
            <a:ext cx="207772" cy="6173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48"/>
              </a:spcBef>
            </a:pPr>
            <a:endParaRPr sz="600">
              <a:solidFill>
                <a:prstClr val="black"/>
              </a:solidFill>
            </a:endParaRPr>
          </a:p>
        </p:txBody>
      </p:sp>
      <p:sp>
        <p:nvSpPr>
          <p:cNvPr id="115" name="object 115"/>
          <p:cNvSpPr txBox="1"/>
          <p:nvPr/>
        </p:nvSpPr>
        <p:spPr>
          <a:xfrm>
            <a:off x="6164453" y="2400110"/>
            <a:ext cx="1557654" cy="11214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14" name="object 114"/>
          <p:cNvSpPr txBox="1"/>
          <p:nvPr/>
        </p:nvSpPr>
        <p:spPr>
          <a:xfrm>
            <a:off x="7930896" y="2407719"/>
            <a:ext cx="103250" cy="1285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13" name="object 113"/>
          <p:cNvSpPr txBox="1"/>
          <p:nvPr/>
        </p:nvSpPr>
        <p:spPr>
          <a:xfrm>
            <a:off x="8034147" y="2407719"/>
            <a:ext cx="104012" cy="12850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12" name="object 112"/>
          <p:cNvSpPr txBox="1"/>
          <p:nvPr/>
        </p:nvSpPr>
        <p:spPr>
          <a:xfrm>
            <a:off x="969264" y="2475728"/>
            <a:ext cx="53339" cy="3469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11" name="object 111"/>
          <p:cNvSpPr txBox="1"/>
          <p:nvPr/>
        </p:nvSpPr>
        <p:spPr>
          <a:xfrm>
            <a:off x="1022604" y="2475728"/>
            <a:ext cx="5141849" cy="788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29"/>
              </a:spcBef>
            </a:pPr>
            <a:endParaRPr sz="800">
              <a:solidFill>
                <a:prstClr val="black"/>
              </a:solidFill>
            </a:endParaRPr>
          </a:p>
        </p:txBody>
      </p:sp>
      <p:sp>
        <p:nvSpPr>
          <p:cNvPr id="110" name="object 110"/>
          <p:cNvSpPr txBox="1"/>
          <p:nvPr/>
        </p:nvSpPr>
        <p:spPr>
          <a:xfrm>
            <a:off x="5852160" y="2475728"/>
            <a:ext cx="104520" cy="600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31"/>
              </a:spcBef>
            </a:pPr>
            <a:endParaRPr sz="600">
              <a:solidFill>
                <a:prstClr val="black"/>
              </a:solidFill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5956682" y="2475728"/>
            <a:ext cx="104267" cy="600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31"/>
              </a:spcBef>
            </a:pPr>
            <a:endParaRPr sz="600">
              <a:solidFill>
                <a:prstClr val="black"/>
              </a:solidFill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6060948" y="2475728"/>
            <a:ext cx="103504" cy="3652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07" name="object 107"/>
          <p:cNvSpPr txBox="1"/>
          <p:nvPr/>
        </p:nvSpPr>
        <p:spPr>
          <a:xfrm>
            <a:off x="5852161" y="2535748"/>
            <a:ext cx="208787" cy="12788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06" name="object 106"/>
          <p:cNvSpPr txBox="1"/>
          <p:nvPr/>
        </p:nvSpPr>
        <p:spPr>
          <a:xfrm>
            <a:off x="6060948" y="2512254"/>
            <a:ext cx="103504" cy="1025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6164454" y="2512254"/>
            <a:ext cx="103759" cy="1025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6268213" y="2512254"/>
            <a:ext cx="1453895" cy="3602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1022604" y="2554582"/>
            <a:ext cx="3479927" cy="1564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4502532" y="2554582"/>
            <a:ext cx="1349629" cy="1564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7930896" y="2536224"/>
            <a:ext cx="103250" cy="1155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8034147" y="2536224"/>
            <a:ext cx="104012" cy="1155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6060949" y="2614790"/>
            <a:ext cx="207263" cy="119981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7930897" y="2651792"/>
            <a:ext cx="207263" cy="116281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1022603" y="2711050"/>
            <a:ext cx="3064510" cy="625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7"/>
              </a:spcBef>
            </a:pPr>
            <a:endParaRPr sz="650">
              <a:solidFill>
                <a:prstClr val="black"/>
              </a:solidFill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4087114" y="2711050"/>
            <a:ext cx="207772" cy="6258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50"/>
              </a:lnSpc>
              <a:spcBef>
                <a:spcPts val="7"/>
              </a:spcBef>
            </a:pPr>
            <a:endParaRPr sz="650">
              <a:solidFill>
                <a:prstClr val="black"/>
              </a:solidFill>
            </a:endParaRPr>
          </a:p>
        </p:txBody>
      </p:sp>
      <p:sp>
        <p:nvSpPr>
          <p:cNvPr id="95" name="object 95"/>
          <p:cNvSpPr txBox="1"/>
          <p:nvPr/>
        </p:nvSpPr>
        <p:spPr>
          <a:xfrm>
            <a:off x="4294887" y="2711051"/>
            <a:ext cx="103377" cy="1065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4398264" y="2711051"/>
            <a:ext cx="104266" cy="1065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4502532" y="2711050"/>
            <a:ext cx="104521" cy="969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4607053" y="2711050"/>
            <a:ext cx="622553" cy="8598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1022603" y="2773638"/>
            <a:ext cx="3272282" cy="2284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3983737" y="2773638"/>
            <a:ext cx="103377" cy="59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21"/>
              </a:spcBef>
            </a:pPr>
            <a:endParaRPr sz="600">
              <a:solidFill>
                <a:prstClr val="black"/>
              </a:solidFill>
            </a:endParaRPr>
          </a:p>
        </p:txBody>
      </p:sp>
      <p:sp>
        <p:nvSpPr>
          <p:cNvPr id="89" name="object 89"/>
          <p:cNvSpPr txBox="1"/>
          <p:nvPr/>
        </p:nvSpPr>
        <p:spPr>
          <a:xfrm>
            <a:off x="4087114" y="2773638"/>
            <a:ext cx="103886" cy="590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21"/>
              </a:spcBef>
            </a:pPr>
            <a:endParaRPr sz="600">
              <a:solidFill>
                <a:prstClr val="black"/>
              </a:solidFill>
            </a:endParaRPr>
          </a:p>
        </p:txBody>
      </p:sp>
      <p:sp>
        <p:nvSpPr>
          <p:cNvPr id="88" name="object 88"/>
          <p:cNvSpPr txBox="1"/>
          <p:nvPr/>
        </p:nvSpPr>
        <p:spPr>
          <a:xfrm>
            <a:off x="4191000" y="2773638"/>
            <a:ext cx="103886" cy="439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4191000" y="2817606"/>
            <a:ext cx="103886" cy="1090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4294887" y="2817606"/>
            <a:ext cx="103377" cy="1090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4398265" y="2817605"/>
            <a:ext cx="208787" cy="99700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969264" y="2822718"/>
            <a:ext cx="53339" cy="3264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3983737" y="2832706"/>
            <a:ext cx="207263" cy="9819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6268212" y="2872465"/>
            <a:ext cx="104012" cy="8722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16"/>
              </a:spcBef>
            </a:pPr>
            <a:endParaRPr sz="900">
              <a:solidFill>
                <a:prstClr val="black"/>
              </a:solidFill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6372225" y="2872465"/>
            <a:ext cx="1349882" cy="8722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16"/>
              </a:spcBef>
            </a:pPr>
            <a:endParaRPr sz="900">
              <a:solidFill>
                <a:prstClr val="black"/>
              </a:solidFill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4191001" y="2926683"/>
            <a:ext cx="207263" cy="8879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6268212" y="2959687"/>
            <a:ext cx="104012" cy="7875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28"/>
              </a:spcBef>
            </a:pPr>
            <a:endParaRPr sz="800">
              <a:solidFill>
                <a:prstClr val="black"/>
              </a:solidFill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6372225" y="2959687"/>
            <a:ext cx="103250" cy="7875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28"/>
              </a:spcBef>
            </a:pPr>
            <a:endParaRPr sz="800">
              <a:solidFill>
                <a:prstClr val="black"/>
              </a:solidFill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6475477" y="2959688"/>
            <a:ext cx="1246631" cy="4779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1022603" y="3002111"/>
            <a:ext cx="1402588" cy="991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2425193" y="3002111"/>
            <a:ext cx="207771" cy="9911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2632964" y="3014285"/>
            <a:ext cx="1350772" cy="869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14"/>
              </a:spcBef>
            </a:pPr>
            <a:endParaRPr sz="900">
              <a:solidFill>
                <a:prstClr val="black"/>
              </a:solidFill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6268213" y="3038446"/>
            <a:ext cx="207263" cy="7761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1022603" y="3101224"/>
            <a:ext cx="1194816" cy="479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3"/>
              </a:spcBef>
            </a:pPr>
            <a:endParaRPr sz="500">
              <a:solidFill>
                <a:prstClr val="black"/>
              </a:solidFill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2217421" y="3101224"/>
            <a:ext cx="103631" cy="479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3"/>
              </a:spcBef>
            </a:pPr>
            <a:endParaRPr sz="500">
              <a:solidFill>
                <a:prstClr val="black"/>
              </a:solidFill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2321052" y="3101224"/>
            <a:ext cx="104140" cy="708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44"/>
              </a:spcBef>
            </a:pPr>
            <a:endParaRPr sz="700">
              <a:solidFill>
                <a:prstClr val="black"/>
              </a:solidFill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2425192" y="3101224"/>
            <a:ext cx="103124" cy="7086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44"/>
              </a:spcBef>
            </a:pPr>
            <a:endParaRPr sz="700">
              <a:solidFill>
                <a:prstClr val="black"/>
              </a:solidFill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2528317" y="3101224"/>
            <a:ext cx="104647" cy="9264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23"/>
              </a:spcBef>
            </a:pPr>
            <a:endParaRPr sz="950">
              <a:solidFill>
                <a:prstClr val="black"/>
              </a:solidFill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632964" y="3101224"/>
            <a:ext cx="104140" cy="9264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23"/>
              </a:spcBef>
            </a:pPr>
            <a:endParaRPr sz="950">
              <a:solidFill>
                <a:prstClr val="black"/>
              </a:solidFill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2737104" y="3101224"/>
            <a:ext cx="1246632" cy="59353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969264" y="3149163"/>
            <a:ext cx="53339" cy="3344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1022603" y="3149163"/>
            <a:ext cx="1091184" cy="61522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2113789" y="3149164"/>
            <a:ext cx="103631" cy="4308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2217421" y="3149164"/>
            <a:ext cx="103631" cy="4308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2113789" y="3192251"/>
            <a:ext cx="207263" cy="6223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2321052" y="3172086"/>
            <a:ext cx="207264" cy="64252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2528317" y="3193869"/>
            <a:ext cx="208787" cy="6207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6475476" y="3437656"/>
            <a:ext cx="623824" cy="419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7099300" y="3437656"/>
            <a:ext cx="207772" cy="419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7307073" y="3438987"/>
            <a:ext cx="415035" cy="4061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969264" y="3483598"/>
            <a:ext cx="53339" cy="3310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6475476" y="3479603"/>
            <a:ext cx="312420" cy="3350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6787897" y="3479603"/>
            <a:ext cx="207263" cy="3350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6891529" y="3479603"/>
            <a:ext cx="103631" cy="2225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6995159" y="3479603"/>
            <a:ext cx="104140" cy="393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7099300" y="3479603"/>
            <a:ext cx="103124" cy="393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7202424" y="3479603"/>
            <a:ext cx="104648" cy="447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7307073" y="3479603"/>
            <a:ext cx="104139" cy="447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7411211" y="3479603"/>
            <a:ext cx="310896" cy="33500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1270000000" y="3553795"/>
            <a:ext cx="0" cy="320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5021962" y="3540479"/>
            <a:ext cx="236219" cy="453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5229606" y="3540478"/>
            <a:ext cx="622554" cy="304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6995159" y="3518982"/>
            <a:ext cx="207264" cy="2956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4607052" y="3570916"/>
            <a:ext cx="310896" cy="2436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4917949" y="3570916"/>
            <a:ext cx="207263" cy="2436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5021961" y="3570916"/>
            <a:ext cx="103250" cy="149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5125213" y="3570916"/>
            <a:ext cx="208787" cy="2436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334000" y="3570916"/>
            <a:ext cx="518160" cy="337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541264" y="3570916"/>
            <a:ext cx="310896" cy="24369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7202425" y="3524309"/>
            <a:ext cx="208787" cy="2902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334001" y="3604683"/>
            <a:ext cx="207263" cy="2099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437378" y="3604683"/>
            <a:ext cx="0" cy="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2737105" y="3694760"/>
            <a:ext cx="310895" cy="1198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3048001" y="3694760"/>
            <a:ext cx="208787" cy="1198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256789" y="3694760"/>
            <a:ext cx="207263" cy="1198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464053" y="3694760"/>
            <a:ext cx="207263" cy="1198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567685" y="3694760"/>
            <a:ext cx="103631" cy="151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671316" y="3694760"/>
            <a:ext cx="312420" cy="1198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022603" y="3764386"/>
            <a:ext cx="155448" cy="5022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28"/>
              </a:spcBef>
            </a:pPr>
            <a:endParaRPr sz="500">
              <a:solidFill>
                <a:prstClr val="black"/>
              </a:solidFill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178053" y="3764386"/>
            <a:ext cx="208787" cy="5022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28"/>
              </a:spcBef>
            </a:pPr>
            <a:endParaRPr sz="500">
              <a:solidFill>
                <a:prstClr val="black"/>
              </a:solidFill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1386841" y="3764386"/>
            <a:ext cx="207263" cy="5022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28"/>
              </a:spcBef>
            </a:pPr>
            <a:endParaRPr sz="500">
              <a:solidFill>
                <a:prstClr val="black"/>
              </a:solidFill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594104" y="3764386"/>
            <a:ext cx="207264" cy="5022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28"/>
              </a:spcBef>
            </a:pPr>
            <a:endParaRPr sz="500">
              <a:solidFill>
                <a:prstClr val="black"/>
              </a:solidFill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801368" y="3764386"/>
            <a:ext cx="312419" cy="5022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28"/>
              </a:spcBef>
            </a:pPr>
            <a:endParaRPr sz="500">
              <a:solidFill>
                <a:prstClr val="black"/>
              </a:solidFill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969264" y="3814608"/>
            <a:ext cx="53339" cy="4805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022603" y="3814608"/>
            <a:ext cx="935736" cy="2408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46"/>
              </a:spcBef>
            </a:pPr>
            <a:endParaRPr sz="800">
              <a:solidFill>
                <a:prstClr val="black"/>
              </a:solidFill>
            </a:endParaRPr>
          </a:p>
          <a:p>
            <a:pPr marL="284099">
              <a:lnSpc>
                <a:spcPct val="95825"/>
              </a:lnSpc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P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R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958339" y="3814608"/>
            <a:ext cx="934212" cy="2408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3"/>
              </a:spcBef>
            </a:pPr>
            <a:endParaRPr sz="800">
              <a:solidFill>
                <a:prstClr val="black"/>
              </a:solidFill>
            </a:endParaRPr>
          </a:p>
          <a:p>
            <a:pPr marL="188722">
              <a:lnSpc>
                <a:spcPct val="95825"/>
              </a:lnSpc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POST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892552" y="3814608"/>
            <a:ext cx="934212" cy="2408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46"/>
              </a:spcBef>
            </a:pPr>
            <a:endParaRPr sz="800">
              <a:solidFill>
                <a:prstClr val="black"/>
              </a:solidFill>
            </a:endParaRPr>
          </a:p>
          <a:p>
            <a:pPr marL="284099">
              <a:lnSpc>
                <a:spcPct val="95825"/>
              </a:lnSpc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P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R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826764" y="3814608"/>
            <a:ext cx="935736" cy="2408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  <a:spcBef>
                <a:spcPts val="20"/>
              </a:spcBef>
            </a:pPr>
            <a:endParaRPr sz="900">
              <a:solidFill>
                <a:prstClr val="black"/>
              </a:solidFill>
            </a:endParaRPr>
          </a:p>
          <a:p>
            <a:pPr marL="189864">
              <a:lnSpc>
                <a:spcPct val="95825"/>
              </a:lnSpc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POST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762500" y="3814608"/>
            <a:ext cx="934212" cy="2408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46"/>
              </a:spcBef>
            </a:pPr>
            <a:endParaRPr sz="800">
              <a:solidFill>
                <a:prstClr val="black"/>
              </a:solidFill>
            </a:endParaRPr>
          </a:p>
          <a:p>
            <a:pPr marL="284099">
              <a:lnSpc>
                <a:spcPct val="95825"/>
              </a:lnSpc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P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R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696712" y="3814608"/>
            <a:ext cx="935736" cy="2408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41"/>
              </a:spcBef>
            </a:pPr>
            <a:endParaRPr sz="800" dirty="0">
              <a:solidFill>
                <a:prstClr val="black"/>
              </a:solidFill>
            </a:endParaRPr>
          </a:p>
          <a:p>
            <a:pPr marL="187451">
              <a:lnSpc>
                <a:spcPct val="95825"/>
              </a:lnSpc>
            </a:pPr>
            <a:r>
              <a:rPr sz="1400" b="1" dirty="0" smtClean="0">
                <a:solidFill>
                  <a:prstClr val="black"/>
                </a:solidFill>
                <a:latin typeface="Arial"/>
                <a:cs typeface="Arial"/>
              </a:rPr>
              <a:t>POST</a:t>
            </a:r>
            <a:endParaRPr sz="1400" b="1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632449" y="3814608"/>
            <a:ext cx="934211" cy="2408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46"/>
              </a:spcBef>
            </a:pPr>
            <a:endParaRPr sz="800">
              <a:solidFill>
                <a:prstClr val="black"/>
              </a:solidFill>
            </a:endParaRPr>
          </a:p>
          <a:p>
            <a:pPr marL="284099">
              <a:lnSpc>
                <a:spcPct val="95825"/>
              </a:lnSpc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P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R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566659" y="3814608"/>
            <a:ext cx="934212" cy="2408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900"/>
              </a:lnSpc>
              <a:spcBef>
                <a:spcPts val="20"/>
              </a:spcBef>
            </a:pPr>
            <a:endParaRPr sz="900" dirty="0">
              <a:solidFill>
                <a:prstClr val="black"/>
              </a:solidFill>
            </a:endParaRPr>
          </a:p>
          <a:p>
            <a:pPr marL="213995">
              <a:lnSpc>
                <a:spcPct val="95825"/>
              </a:lnSpc>
            </a:pPr>
            <a:r>
              <a:rPr sz="1400" b="1" dirty="0" smtClean="0">
                <a:solidFill>
                  <a:prstClr val="black"/>
                </a:solidFill>
                <a:latin typeface="Arial"/>
                <a:cs typeface="Arial"/>
              </a:rPr>
              <a:t>POST</a:t>
            </a:r>
            <a:endParaRPr sz="1400" b="1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022603" y="4055446"/>
            <a:ext cx="1869948" cy="2396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44"/>
              </a:spcBef>
            </a:pPr>
            <a:endParaRPr sz="800">
              <a:solidFill>
                <a:prstClr val="black"/>
              </a:solidFill>
            </a:endParaRPr>
          </a:p>
          <a:p>
            <a:pPr marL="681697" marR="681775" algn="ctr">
              <a:lnSpc>
                <a:spcPct val="95825"/>
              </a:lnSpc>
            </a:pP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H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N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1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892552" y="4055446"/>
            <a:ext cx="1869948" cy="2396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44"/>
              </a:spcBef>
            </a:pPr>
            <a:endParaRPr sz="800">
              <a:solidFill>
                <a:prstClr val="black"/>
              </a:solidFill>
            </a:endParaRPr>
          </a:p>
          <a:p>
            <a:pPr marL="681697" marR="681775" algn="ctr">
              <a:lnSpc>
                <a:spcPct val="95825"/>
              </a:lnSpc>
            </a:pP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H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3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N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2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762500" y="4055446"/>
            <a:ext cx="1869948" cy="2396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44"/>
              </a:spcBef>
            </a:pPr>
            <a:endParaRPr sz="800" dirty="0">
              <a:solidFill>
                <a:prstClr val="black"/>
              </a:solidFill>
            </a:endParaRPr>
          </a:p>
          <a:p>
            <a:pPr marL="549528">
              <a:lnSpc>
                <a:spcPct val="95825"/>
              </a:lnSpc>
            </a:pPr>
            <a:r>
              <a:rPr sz="1400" b="1" dirty="0" smtClean="0">
                <a:solidFill>
                  <a:prstClr val="black"/>
                </a:solidFill>
                <a:latin typeface="Arial"/>
                <a:cs typeface="Arial"/>
              </a:rPr>
              <a:t>B-</a:t>
            </a:r>
            <a:r>
              <a:rPr sz="1400" b="1" spc="-25" dirty="0" smtClean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sz="1400" b="1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400" b="1" spc="4" dirty="0" smtClean="0">
                <a:solidFill>
                  <a:prstClr val="black"/>
                </a:solidFill>
                <a:latin typeface="Arial"/>
                <a:cs typeface="Arial"/>
              </a:rPr>
              <a:t>ct</a:t>
            </a:r>
            <a:r>
              <a:rPr sz="1400" b="1" dirty="0" smtClean="0">
                <a:solidFill>
                  <a:prstClr val="black"/>
                </a:solidFill>
                <a:latin typeface="Arial"/>
                <a:cs typeface="Arial"/>
              </a:rPr>
              <a:t>oria</a:t>
            </a:r>
            <a:endParaRPr sz="1400" b="1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632448" y="4055446"/>
            <a:ext cx="1868424" cy="2396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44"/>
              </a:spcBef>
            </a:pPr>
            <a:endParaRPr sz="800" dirty="0">
              <a:solidFill>
                <a:prstClr val="black"/>
              </a:solidFill>
            </a:endParaRPr>
          </a:p>
          <a:p>
            <a:pPr marL="447421">
              <a:lnSpc>
                <a:spcPct val="95825"/>
              </a:lnSpc>
            </a:pPr>
            <a:r>
              <a:rPr sz="1400" b="1" dirty="0" smtClean="0">
                <a:solidFill>
                  <a:prstClr val="black"/>
                </a:solidFill>
                <a:latin typeface="Arial"/>
                <a:cs typeface="Arial"/>
              </a:rPr>
              <a:t>B-</a:t>
            </a:r>
            <a:r>
              <a:rPr sz="1400" b="1" spc="-119" dirty="0" smtClean="0">
                <a:solidFill>
                  <a:prstClr val="black"/>
                </a:solidFill>
                <a:latin typeface="Arial"/>
                <a:cs typeface="Arial"/>
              </a:rPr>
              <a:t>Y</a:t>
            </a:r>
            <a:r>
              <a:rPr sz="1400" b="1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1400" b="1" spc="-4" dirty="0" smtClean="0">
                <a:solidFill>
                  <a:prstClr val="black"/>
                </a:solidFill>
                <a:latin typeface="Arial"/>
                <a:cs typeface="Arial"/>
              </a:rPr>
              <a:t>m</a:t>
            </a:r>
            <a:r>
              <a:rPr sz="1400" b="1" dirty="0" smtClean="0">
                <a:solidFill>
                  <a:prstClr val="black"/>
                </a:solidFill>
                <a:latin typeface="Arial"/>
                <a:cs typeface="Arial"/>
              </a:rPr>
              <a:t>agata</a:t>
            </a:r>
            <a:endParaRPr sz="1400" b="1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603749" y="1283331"/>
            <a:ext cx="180975" cy="1355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970148" y="1278575"/>
            <a:ext cx="179387" cy="1355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358898" y="1281000"/>
            <a:ext cx="182562" cy="1343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862953" y="3349862"/>
            <a:ext cx="57150" cy="114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862953" y="3397231"/>
            <a:ext cx="57150" cy="114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993386" y="3449165"/>
            <a:ext cx="57150" cy="114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993386" y="3481220"/>
            <a:ext cx="57150" cy="114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3539109" y="3605254"/>
            <a:ext cx="57150" cy="114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object 131"/>
          <p:cNvSpPr/>
          <p:nvPr/>
        </p:nvSpPr>
        <p:spPr>
          <a:xfrm>
            <a:off x="0" y="0"/>
            <a:ext cx="9144000" cy="513636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7496175" y="178346"/>
            <a:ext cx="1517650" cy="613510"/>
          </a:xfrm>
          <a:custGeom>
            <a:avLst/>
            <a:gdLst/>
            <a:ahLst/>
            <a:cxnLst/>
            <a:rect l="l" t="t" r="r" b="b"/>
            <a:pathLst>
              <a:path w="1517650" h="819150">
                <a:moveTo>
                  <a:pt x="0" y="819150"/>
                </a:moveTo>
                <a:lnTo>
                  <a:pt x="1517650" y="819150"/>
                </a:lnTo>
                <a:lnTo>
                  <a:pt x="1517650" y="0"/>
                </a:lnTo>
                <a:lnTo>
                  <a:pt x="0" y="0"/>
                </a:lnTo>
                <a:lnTo>
                  <a:pt x="0" y="8191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297180" y="1431524"/>
            <a:ext cx="8846820" cy="2966537"/>
          </a:xfrm>
          <a:custGeom>
            <a:avLst/>
            <a:gdLst/>
            <a:ahLst/>
            <a:cxnLst/>
            <a:rect l="l" t="t" r="r" b="b"/>
            <a:pathLst>
              <a:path w="8846820" h="3960876">
                <a:moveTo>
                  <a:pt x="0" y="3960876"/>
                </a:moveTo>
                <a:lnTo>
                  <a:pt x="8846820" y="3960876"/>
                </a:lnTo>
                <a:lnTo>
                  <a:pt x="8846820" y="0"/>
                </a:lnTo>
                <a:lnTo>
                  <a:pt x="0" y="0"/>
                </a:lnTo>
                <a:lnTo>
                  <a:pt x="0" y="396087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1022604" y="1520365"/>
            <a:ext cx="7863840" cy="2309081"/>
          </a:xfrm>
          <a:custGeom>
            <a:avLst/>
            <a:gdLst/>
            <a:ahLst/>
            <a:cxnLst/>
            <a:rect l="l" t="t" r="r" b="b"/>
            <a:pathLst>
              <a:path w="7863840" h="3083052">
                <a:moveTo>
                  <a:pt x="0" y="3083051"/>
                </a:moveTo>
                <a:lnTo>
                  <a:pt x="7863840" y="3083051"/>
                </a:lnTo>
                <a:lnTo>
                  <a:pt x="7863840" y="0"/>
                </a:lnTo>
                <a:lnTo>
                  <a:pt x="0" y="0"/>
                </a:lnTo>
                <a:lnTo>
                  <a:pt x="0" y="30830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1240536" y="2685749"/>
            <a:ext cx="291083" cy="1142555"/>
          </a:xfrm>
          <a:custGeom>
            <a:avLst/>
            <a:gdLst/>
            <a:ahLst/>
            <a:cxnLst/>
            <a:rect l="l" t="t" r="r" b="b"/>
            <a:pathLst>
              <a:path w="291083" h="1525524">
                <a:moveTo>
                  <a:pt x="0" y="0"/>
                </a:moveTo>
                <a:lnTo>
                  <a:pt x="0" y="1525523"/>
                </a:lnTo>
                <a:lnTo>
                  <a:pt x="291083" y="1525523"/>
                </a:lnTo>
                <a:lnTo>
                  <a:pt x="29108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2551176" y="3767810"/>
            <a:ext cx="291084" cy="60494"/>
          </a:xfrm>
          <a:custGeom>
            <a:avLst/>
            <a:gdLst/>
            <a:ahLst/>
            <a:cxnLst/>
            <a:rect l="l" t="t" r="r" b="b"/>
            <a:pathLst>
              <a:path w="291084" h="80772">
                <a:moveTo>
                  <a:pt x="0" y="0"/>
                </a:moveTo>
                <a:lnTo>
                  <a:pt x="0" y="80771"/>
                </a:lnTo>
                <a:lnTo>
                  <a:pt x="291084" y="80771"/>
                </a:lnTo>
                <a:lnTo>
                  <a:pt x="29108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3861816" y="3031598"/>
            <a:ext cx="291084" cy="796707"/>
          </a:xfrm>
          <a:custGeom>
            <a:avLst/>
            <a:gdLst/>
            <a:ahLst/>
            <a:cxnLst/>
            <a:rect l="l" t="t" r="r" b="b"/>
            <a:pathLst>
              <a:path w="291084" h="1063752">
                <a:moveTo>
                  <a:pt x="0" y="0"/>
                </a:moveTo>
                <a:lnTo>
                  <a:pt x="0" y="1063751"/>
                </a:lnTo>
                <a:lnTo>
                  <a:pt x="291084" y="1063751"/>
                </a:lnTo>
                <a:lnTo>
                  <a:pt x="29108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5172456" y="3781507"/>
            <a:ext cx="291084" cy="46797"/>
          </a:xfrm>
          <a:custGeom>
            <a:avLst/>
            <a:gdLst/>
            <a:ahLst/>
            <a:cxnLst/>
            <a:rect l="l" t="t" r="r" b="b"/>
            <a:pathLst>
              <a:path w="291084" h="62484">
                <a:moveTo>
                  <a:pt x="0" y="0"/>
                </a:moveTo>
                <a:lnTo>
                  <a:pt x="0" y="62483"/>
                </a:lnTo>
                <a:lnTo>
                  <a:pt x="291084" y="62483"/>
                </a:lnTo>
                <a:lnTo>
                  <a:pt x="29108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6483097" y="2974527"/>
            <a:ext cx="291083" cy="853778"/>
          </a:xfrm>
          <a:custGeom>
            <a:avLst/>
            <a:gdLst/>
            <a:ahLst/>
            <a:cxnLst/>
            <a:rect l="l" t="t" r="r" b="b"/>
            <a:pathLst>
              <a:path w="291083" h="1139952">
                <a:moveTo>
                  <a:pt x="0" y="0"/>
                </a:moveTo>
                <a:lnTo>
                  <a:pt x="0" y="1139951"/>
                </a:lnTo>
                <a:lnTo>
                  <a:pt x="291083" y="1139951"/>
                </a:lnTo>
                <a:lnTo>
                  <a:pt x="29108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7793735" y="3818603"/>
            <a:ext cx="291084" cy="0"/>
          </a:xfrm>
          <a:custGeom>
            <a:avLst/>
            <a:gdLst/>
            <a:ahLst/>
            <a:cxnLst/>
            <a:rect l="l" t="t" r="r" b="b"/>
            <a:pathLst>
              <a:path w="291084">
                <a:moveTo>
                  <a:pt x="0" y="0"/>
                </a:moveTo>
                <a:lnTo>
                  <a:pt x="291084" y="0"/>
                </a:lnTo>
              </a:path>
            </a:pathLst>
          </a:custGeom>
          <a:ln w="27177">
            <a:solidFill>
              <a:srgbClr val="FFC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1531620" y="2637809"/>
            <a:ext cx="291084" cy="1190496"/>
          </a:xfrm>
          <a:custGeom>
            <a:avLst/>
            <a:gdLst/>
            <a:ahLst/>
            <a:cxnLst/>
            <a:rect l="l" t="t" r="r" b="b"/>
            <a:pathLst>
              <a:path w="291084" h="1589532">
                <a:moveTo>
                  <a:pt x="0" y="0"/>
                </a:moveTo>
                <a:lnTo>
                  <a:pt x="0" y="1589532"/>
                </a:lnTo>
                <a:lnTo>
                  <a:pt x="291084" y="1589532"/>
                </a:lnTo>
                <a:lnTo>
                  <a:pt x="291084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2842261" y="3767810"/>
            <a:ext cx="291083" cy="60494"/>
          </a:xfrm>
          <a:custGeom>
            <a:avLst/>
            <a:gdLst/>
            <a:ahLst/>
            <a:cxnLst/>
            <a:rect l="l" t="t" r="r" b="b"/>
            <a:pathLst>
              <a:path w="291083" h="80772">
                <a:moveTo>
                  <a:pt x="0" y="0"/>
                </a:moveTo>
                <a:lnTo>
                  <a:pt x="0" y="80771"/>
                </a:lnTo>
                <a:lnTo>
                  <a:pt x="291083" y="80771"/>
                </a:lnTo>
                <a:lnTo>
                  <a:pt x="291083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4152900" y="2992789"/>
            <a:ext cx="291084" cy="835516"/>
          </a:xfrm>
          <a:custGeom>
            <a:avLst/>
            <a:gdLst/>
            <a:ahLst/>
            <a:cxnLst/>
            <a:rect l="l" t="t" r="r" b="b"/>
            <a:pathLst>
              <a:path w="291084" h="1115568">
                <a:moveTo>
                  <a:pt x="0" y="0"/>
                </a:moveTo>
                <a:lnTo>
                  <a:pt x="0" y="1115568"/>
                </a:lnTo>
                <a:lnTo>
                  <a:pt x="291084" y="1115568"/>
                </a:lnTo>
                <a:lnTo>
                  <a:pt x="291084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5463540" y="3807189"/>
            <a:ext cx="291084" cy="0"/>
          </a:xfrm>
          <a:custGeom>
            <a:avLst/>
            <a:gdLst/>
            <a:ahLst/>
            <a:cxnLst/>
            <a:rect l="l" t="t" r="r" b="b"/>
            <a:pathLst>
              <a:path w="291084">
                <a:moveTo>
                  <a:pt x="0" y="0"/>
                </a:moveTo>
                <a:lnTo>
                  <a:pt x="291084" y="0"/>
                </a:lnTo>
              </a:path>
            </a:pathLst>
          </a:custGeom>
          <a:ln w="57657">
            <a:solidFill>
              <a:srgbClr val="4F81B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6774180" y="2965395"/>
            <a:ext cx="291084" cy="862910"/>
          </a:xfrm>
          <a:custGeom>
            <a:avLst/>
            <a:gdLst/>
            <a:ahLst/>
            <a:cxnLst/>
            <a:rect l="l" t="t" r="r" b="b"/>
            <a:pathLst>
              <a:path w="291084" h="1152144">
                <a:moveTo>
                  <a:pt x="0" y="0"/>
                </a:moveTo>
                <a:lnTo>
                  <a:pt x="0" y="1152144"/>
                </a:lnTo>
                <a:lnTo>
                  <a:pt x="291084" y="1152144"/>
                </a:lnTo>
                <a:lnTo>
                  <a:pt x="291084" y="0"/>
                </a:lnTo>
                <a:lnTo>
                  <a:pt x="0" y="0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8084821" y="3814037"/>
            <a:ext cx="291083" cy="0"/>
          </a:xfrm>
          <a:custGeom>
            <a:avLst/>
            <a:gdLst/>
            <a:ahLst/>
            <a:cxnLst/>
            <a:rect l="l" t="t" r="r" b="b"/>
            <a:pathLst>
              <a:path w="291083">
                <a:moveTo>
                  <a:pt x="0" y="0"/>
                </a:moveTo>
                <a:lnTo>
                  <a:pt x="291083" y="0"/>
                </a:lnTo>
              </a:path>
            </a:pathLst>
          </a:custGeom>
          <a:ln w="39370">
            <a:solidFill>
              <a:srgbClr val="4F81B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1822705" y="2715426"/>
            <a:ext cx="291083" cy="1112879"/>
          </a:xfrm>
          <a:custGeom>
            <a:avLst/>
            <a:gdLst/>
            <a:ahLst/>
            <a:cxnLst/>
            <a:rect l="l" t="t" r="r" b="b"/>
            <a:pathLst>
              <a:path w="291083" h="1485900">
                <a:moveTo>
                  <a:pt x="0" y="0"/>
                </a:moveTo>
                <a:lnTo>
                  <a:pt x="0" y="1485899"/>
                </a:lnTo>
                <a:lnTo>
                  <a:pt x="291083" y="1485899"/>
                </a:lnTo>
                <a:lnTo>
                  <a:pt x="29108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3133345" y="3770093"/>
            <a:ext cx="291083" cy="58211"/>
          </a:xfrm>
          <a:custGeom>
            <a:avLst/>
            <a:gdLst/>
            <a:ahLst/>
            <a:cxnLst/>
            <a:rect l="l" t="t" r="r" b="b"/>
            <a:pathLst>
              <a:path w="291083" h="77724">
                <a:moveTo>
                  <a:pt x="0" y="0"/>
                </a:moveTo>
                <a:lnTo>
                  <a:pt x="0" y="77723"/>
                </a:lnTo>
                <a:lnTo>
                  <a:pt x="291083" y="77723"/>
                </a:lnTo>
                <a:lnTo>
                  <a:pt x="29108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0" name="object 150"/>
          <p:cNvSpPr/>
          <p:nvPr/>
        </p:nvSpPr>
        <p:spPr>
          <a:xfrm>
            <a:off x="4443985" y="3058991"/>
            <a:ext cx="291083" cy="769314"/>
          </a:xfrm>
          <a:custGeom>
            <a:avLst/>
            <a:gdLst/>
            <a:ahLst/>
            <a:cxnLst/>
            <a:rect l="l" t="t" r="r" b="b"/>
            <a:pathLst>
              <a:path w="291083" h="1027176">
                <a:moveTo>
                  <a:pt x="0" y="0"/>
                </a:moveTo>
                <a:lnTo>
                  <a:pt x="0" y="1027175"/>
                </a:lnTo>
                <a:lnTo>
                  <a:pt x="291083" y="1027175"/>
                </a:lnTo>
                <a:lnTo>
                  <a:pt x="29108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1" name="object 151"/>
          <p:cNvSpPr/>
          <p:nvPr/>
        </p:nvSpPr>
        <p:spPr>
          <a:xfrm>
            <a:off x="5754624" y="3781507"/>
            <a:ext cx="291084" cy="46797"/>
          </a:xfrm>
          <a:custGeom>
            <a:avLst/>
            <a:gdLst/>
            <a:ahLst/>
            <a:cxnLst/>
            <a:rect l="l" t="t" r="r" b="b"/>
            <a:pathLst>
              <a:path w="291084" h="62484">
                <a:moveTo>
                  <a:pt x="0" y="0"/>
                </a:moveTo>
                <a:lnTo>
                  <a:pt x="0" y="62483"/>
                </a:lnTo>
                <a:lnTo>
                  <a:pt x="291084" y="62483"/>
                </a:lnTo>
                <a:lnTo>
                  <a:pt x="29108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7065265" y="3089810"/>
            <a:ext cx="291083" cy="738495"/>
          </a:xfrm>
          <a:custGeom>
            <a:avLst/>
            <a:gdLst/>
            <a:ahLst/>
            <a:cxnLst/>
            <a:rect l="l" t="t" r="r" b="b"/>
            <a:pathLst>
              <a:path w="291083" h="986027">
                <a:moveTo>
                  <a:pt x="0" y="0"/>
                </a:moveTo>
                <a:lnTo>
                  <a:pt x="0" y="986027"/>
                </a:lnTo>
                <a:lnTo>
                  <a:pt x="291083" y="986027"/>
                </a:lnTo>
                <a:lnTo>
                  <a:pt x="29108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8375904" y="3822027"/>
            <a:ext cx="291084" cy="0"/>
          </a:xfrm>
          <a:custGeom>
            <a:avLst/>
            <a:gdLst/>
            <a:ahLst/>
            <a:cxnLst/>
            <a:rect l="l" t="t" r="r" b="b"/>
            <a:pathLst>
              <a:path w="291084">
                <a:moveTo>
                  <a:pt x="0" y="0"/>
                </a:moveTo>
                <a:lnTo>
                  <a:pt x="291084" y="0"/>
                </a:lnTo>
              </a:path>
            </a:pathLst>
          </a:custGeom>
          <a:ln w="18033">
            <a:solidFill>
              <a:srgbClr val="FF66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1357630" y="2644182"/>
            <a:ext cx="57150" cy="83037"/>
          </a:xfrm>
          <a:custGeom>
            <a:avLst/>
            <a:gdLst/>
            <a:ahLst/>
            <a:cxnLst/>
            <a:rect l="l" t="t" r="r" b="b"/>
            <a:pathLst>
              <a:path w="57150" h="110871">
                <a:moveTo>
                  <a:pt x="28575" y="110870"/>
                </a:moveTo>
                <a:lnTo>
                  <a:pt x="28575" y="0"/>
                </a:lnTo>
                <a:lnTo>
                  <a:pt x="28575" y="110870"/>
                </a:lnTo>
                <a:close/>
              </a:path>
              <a:path w="57150" h="110871">
                <a:moveTo>
                  <a:pt x="0" y="110870"/>
                </a:moveTo>
                <a:lnTo>
                  <a:pt x="57150" y="110870"/>
                </a:lnTo>
              </a:path>
              <a:path w="57150" h="110871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5" name="object 155"/>
          <p:cNvSpPr/>
          <p:nvPr/>
        </p:nvSpPr>
        <p:spPr>
          <a:xfrm>
            <a:off x="1386205" y="2644182"/>
            <a:ext cx="0" cy="83037"/>
          </a:xfrm>
          <a:custGeom>
            <a:avLst/>
            <a:gdLst/>
            <a:ahLst/>
            <a:cxnLst/>
            <a:rect l="l" t="t" r="r" b="b"/>
            <a:pathLst>
              <a:path h="110871">
                <a:moveTo>
                  <a:pt x="0" y="110870"/>
                </a:moveTo>
                <a:lnTo>
                  <a:pt x="0" y="55372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6" name="object 156"/>
          <p:cNvSpPr/>
          <p:nvPr/>
        </p:nvSpPr>
        <p:spPr>
          <a:xfrm>
            <a:off x="1357630" y="2727220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7" name="object 157"/>
          <p:cNvSpPr/>
          <p:nvPr/>
        </p:nvSpPr>
        <p:spPr>
          <a:xfrm>
            <a:off x="1357630" y="2644182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8" name="object 158"/>
          <p:cNvSpPr/>
          <p:nvPr/>
        </p:nvSpPr>
        <p:spPr>
          <a:xfrm>
            <a:off x="2668143" y="3753923"/>
            <a:ext cx="57150" cy="25396"/>
          </a:xfrm>
          <a:custGeom>
            <a:avLst/>
            <a:gdLst/>
            <a:ahLst/>
            <a:cxnLst/>
            <a:rect l="l" t="t" r="r" b="b"/>
            <a:pathLst>
              <a:path w="57150" h="33909">
                <a:moveTo>
                  <a:pt x="28575" y="33909"/>
                </a:moveTo>
                <a:lnTo>
                  <a:pt x="28575" y="0"/>
                </a:lnTo>
                <a:lnTo>
                  <a:pt x="28575" y="33909"/>
                </a:lnTo>
                <a:close/>
              </a:path>
              <a:path w="57150" h="33909">
                <a:moveTo>
                  <a:pt x="0" y="33909"/>
                </a:moveTo>
                <a:lnTo>
                  <a:pt x="57150" y="33909"/>
                </a:lnTo>
              </a:path>
              <a:path w="57150" h="33909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9" name="object 159"/>
          <p:cNvSpPr/>
          <p:nvPr/>
        </p:nvSpPr>
        <p:spPr>
          <a:xfrm>
            <a:off x="2696718" y="3753923"/>
            <a:ext cx="0" cy="25396"/>
          </a:xfrm>
          <a:custGeom>
            <a:avLst/>
            <a:gdLst/>
            <a:ahLst/>
            <a:cxnLst/>
            <a:rect l="l" t="t" r="r" b="b"/>
            <a:pathLst>
              <a:path h="33909">
                <a:moveTo>
                  <a:pt x="0" y="33909"/>
                </a:moveTo>
                <a:lnTo>
                  <a:pt x="0" y="18415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2668143" y="3779319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1" name="object 161"/>
          <p:cNvSpPr/>
          <p:nvPr/>
        </p:nvSpPr>
        <p:spPr>
          <a:xfrm>
            <a:off x="2668143" y="3753923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2" name="object 162"/>
          <p:cNvSpPr/>
          <p:nvPr/>
        </p:nvSpPr>
        <p:spPr>
          <a:xfrm>
            <a:off x="3978655" y="2992504"/>
            <a:ext cx="57150" cy="78472"/>
          </a:xfrm>
          <a:custGeom>
            <a:avLst/>
            <a:gdLst/>
            <a:ahLst/>
            <a:cxnLst/>
            <a:rect l="l" t="t" r="r" b="b"/>
            <a:pathLst>
              <a:path w="57150" h="104775">
                <a:moveTo>
                  <a:pt x="28575" y="104775"/>
                </a:moveTo>
                <a:lnTo>
                  <a:pt x="28575" y="0"/>
                </a:lnTo>
                <a:lnTo>
                  <a:pt x="28575" y="104775"/>
                </a:lnTo>
                <a:close/>
              </a:path>
              <a:path w="57150" h="104775">
                <a:moveTo>
                  <a:pt x="0" y="104775"/>
                </a:moveTo>
                <a:lnTo>
                  <a:pt x="57150" y="104775"/>
                </a:lnTo>
              </a:path>
              <a:path w="57150" h="104775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3" name="object 163"/>
          <p:cNvSpPr/>
          <p:nvPr/>
        </p:nvSpPr>
        <p:spPr>
          <a:xfrm>
            <a:off x="4007230" y="2992504"/>
            <a:ext cx="0" cy="78472"/>
          </a:xfrm>
          <a:custGeom>
            <a:avLst/>
            <a:gdLst/>
            <a:ahLst/>
            <a:cxnLst/>
            <a:rect l="l" t="t" r="r" b="b"/>
            <a:pathLst>
              <a:path h="104775">
                <a:moveTo>
                  <a:pt x="0" y="104775"/>
                </a:moveTo>
                <a:lnTo>
                  <a:pt x="0" y="52450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4" name="object 164"/>
          <p:cNvSpPr/>
          <p:nvPr/>
        </p:nvSpPr>
        <p:spPr>
          <a:xfrm>
            <a:off x="3978655" y="3070976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3978655" y="2992504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5289169" y="3767715"/>
            <a:ext cx="57150" cy="23113"/>
          </a:xfrm>
          <a:custGeom>
            <a:avLst/>
            <a:gdLst/>
            <a:ahLst/>
            <a:cxnLst/>
            <a:rect l="l" t="t" r="r" b="b"/>
            <a:pathLst>
              <a:path w="57150" h="30860">
                <a:moveTo>
                  <a:pt x="28575" y="30860"/>
                </a:moveTo>
                <a:lnTo>
                  <a:pt x="28575" y="0"/>
                </a:lnTo>
                <a:lnTo>
                  <a:pt x="28575" y="30860"/>
                </a:lnTo>
                <a:close/>
              </a:path>
              <a:path w="57150" h="30860">
                <a:moveTo>
                  <a:pt x="0" y="30860"/>
                </a:moveTo>
                <a:lnTo>
                  <a:pt x="57150" y="30860"/>
                </a:lnTo>
              </a:path>
              <a:path w="57150" h="3086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7" name="object 167"/>
          <p:cNvSpPr/>
          <p:nvPr/>
        </p:nvSpPr>
        <p:spPr>
          <a:xfrm>
            <a:off x="5317744" y="3767715"/>
            <a:ext cx="0" cy="23113"/>
          </a:xfrm>
          <a:custGeom>
            <a:avLst/>
            <a:gdLst/>
            <a:ahLst/>
            <a:cxnLst/>
            <a:rect l="l" t="t" r="r" b="b"/>
            <a:pathLst>
              <a:path h="30860">
                <a:moveTo>
                  <a:pt x="0" y="30860"/>
                </a:moveTo>
                <a:lnTo>
                  <a:pt x="0" y="18541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8" name="object 168"/>
          <p:cNvSpPr/>
          <p:nvPr/>
        </p:nvSpPr>
        <p:spPr>
          <a:xfrm>
            <a:off x="5289169" y="3790828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5289169" y="3767715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0" name="object 170"/>
          <p:cNvSpPr/>
          <p:nvPr/>
        </p:nvSpPr>
        <p:spPr>
          <a:xfrm>
            <a:off x="6599555" y="2934863"/>
            <a:ext cx="57150" cy="78472"/>
          </a:xfrm>
          <a:custGeom>
            <a:avLst/>
            <a:gdLst/>
            <a:ahLst/>
            <a:cxnLst/>
            <a:rect l="l" t="t" r="r" b="b"/>
            <a:pathLst>
              <a:path w="57150" h="104775">
                <a:moveTo>
                  <a:pt x="28575" y="104775"/>
                </a:moveTo>
                <a:lnTo>
                  <a:pt x="28575" y="0"/>
                </a:lnTo>
                <a:lnTo>
                  <a:pt x="28575" y="104775"/>
                </a:lnTo>
                <a:close/>
              </a:path>
              <a:path w="57150" h="104775">
                <a:moveTo>
                  <a:pt x="0" y="104775"/>
                </a:moveTo>
                <a:lnTo>
                  <a:pt x="57150" y="104775"/>
                </a:lnTo>
              </a:path>
              <a:path w="57150" h="104775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1" name="object 171"/>
          <p:cNvSpPr/>
          <p:nvPr/>
        </p:nvSpPr>
        <p:spPr>
          <a:xfrm>
            <a:off x="6628130" y="2934863"/>
            <a:ext cx="0" cy="78472"/>
          </a:xfrm>
          <a:custGeom>
            <a:avLst/>
            <a:gdLst/>
            <a:ahLst/>
            <a:cxnLst/>
            <a:rect l="l" t="t" r="r" b="b"/>
            <a:pathLst>
              <a:path h="104775">
                <a:moveTo>
                  <a:pt x="0" y="104775"/>
                </a:moveTo>
                <a:lnTo>
                  <a:pt x="0" y="52323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6599555" y="3013335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6599555" y="2934863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4" name="object 174"/>
          <p:cNvSpPr/>
          <p:nvPr/>
        </p:nvSpPr>
        <p:spPr>
          <a:xfrm>
            <a:off x="7910068" y="3800055"/>
            <a:ext cx="57150" cy="16170"/>
          </a:xfrm>
          <a:custGeom>
            <a:avLst/>
            <a:gdLst/>
            <a:ahLst/>
            <a:cxnLst/>
            <a:rect l="l" t="t" r="r" b="b"/>
            <a:pathLst>
              <a:path w="57150" h="21590">
                <a:moveTo>
                  <a:pt x="28575" y="21590"/>
                </a:moveTo>
                <a:lnTo>
                  <a:pt x="28575" y="0"/>
                </a:lnTo>
                <a:lnTo>
                  <a:pt x="28575" y="21590"/>
                </a:lnTo>
                <a:close/>
              </a:path>
              <a:path w="57150" h="21590">
                <a:moveTo>
                  <a:pt x="0" y="21590"/>
                </a:moveTo>
                <a:lnTo>
                  <a:pt x="57150" y="21590"/>
                </a:lnTo>
              </a:path>
              <a:path w="57150" h="2159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7938643" y="3800055"/>
            <a:ext cx="0" cy="16170"/>
          </a:xfrm>
          <a:custGeom>
            <a:avLst/>
            <a:gdLst/>
            <a:ahLst/>
            <a:cxnLst/>
            <a:rect l="l" t="t" r="r" b="b"/>
            <a:pathLst>
              <a:path h="21590">
                <a:moveTo>
                  <a:pt x="0" y="21590"/>
                </a:moveTo>
                <a:lnTo>
                  <a:pt x="0" y="12318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7910068" y="3816225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7" name="object 177"/>
          <p:cNvSpPr/>
          <p:nvPr/>
        </p:nvSpPr>
        <p:spPr>
          <a:xfrm>
            <a:off x="7910068" y="3800055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1648841" y="2565710"/>
            <a:ext cx="57150" cy="143057"/>
          </a:xfrm>
          <a:custGeom>
            <a:avLst/>
            <a:gdLst/>
            <a:ahLst/>
            <a:cxnLst/>
            <a:rect l="l" t="t" r="r" b="b"/>
            <a:pathLst>
              <a:path w="57150" h="191007">
                <a:moveTo>
                  <a:pt x="28575" y="191007"/>
                </a:moveTo>
                <a:lnTo>
                  <a:pt x="28575" y="0"/>
                </a:lnTo>
                <a:lnTo>
                  <a:pt x="28575" y="191007"/>
                </a:lnTo>
                <a:close/>
              </a:path>
              <a:path w="57150" h="191007">
                <a:moveTo>
                  <a:pt x="0" y="191007"/>
                </a:moveTo>
                <a:lnTo>
                  <a:pt x="57150" y="191007"/>
                </a:lnTo>
              </a:path>
              <a:path w="57150" h="191007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9" name="object 179"/>
          <p:cNvSpPr/>
          <p:nvPr/>
        </p:nvSpPr>
        <p:spPr>
          <a:xfrm>
            <a:off x="1677416" y="2565710"/>
            <a:ext cx="0" cy="143057"/>
          </a:xfrm>
          <a:custGeom>
            <a:avLst/>
            <a:gdLst/>
            <a:ahLst/>
            <a:cxnLst/>
            <a:rect l="l" t="t" r="r" b="b"/>
            <a:pathLst>
              <a:path h="191007">
                <a:moveTo>
                  <a:pt x="0" y="191007"/>
                </a:moveTo>
                <a:lnTo>
                  <a:pt x="0" y="95503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0" name="object 180"/>
          <p:cNvSpPr/>
          <p:nvPr/>
        </p:nvSpPr>
        <p:spPr>
          <a:xfrm>
            <a:off x="1648841" y="2708767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1" name="object 181"/>
          <p:cNvSpPr/>
          <p:nvPr/>
        </p:nvSpPr>
        <p:spPr>
          <a:xfrm>
            <a:off x="1648841" y="2565710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2" name="object 182"/>
          <p:cNvSpPr/>
          <p:nvPr/>
        </p:nvSpPr>
        <p:spPr>
          <a:xfrm>
            <a:off x="2959354" y="3742414"/>
            <a:ext cx="57150" cy="46132"/>
          </a:xfrm>
          <a:custGeom>
            <a:avLst/>
            <a:gdLst/>
            <a:ahLst/>
            <a:cxnLst/>
            <a:rect l="l" t="t" r="r" b="b"/>
            <a:pathLst>
              <a:path w="57150" h="61595">
                <a:moveTo>
                  <a:pt x="28575" y="61595"/>
                </a:moveTo>
                <a:lnTo>
                  <a:pt x="28575" y="0"/>
                </a:lnTo>
                <a:lnTo>
                  <a:pt x="28575" y="61595"/>
                </a:lnTo>
                <a:close/>
              </a:path>
              <a:path w="57150" h="61595">
                <a:moveTo>
                  <a:pt x="0" y="61595"/>
                </a:moveTo>
                <a:lnTo>
                  <a:pt x="57150" y="61595"/>
                </a:lnTo>
              </a:path>
              <a:path w="57150" h="61595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3" name="object 183"/>
          <p:cNvSpPr/>
          <p:nvPr/>
        </p:nvSpPr>
        <p:spPr>
          <a:xfrm>
            <a:off x="2987929" y="3742414"/>
            <a:ext cx="0" cy="46132"/>
          </a:xfrm>
          <a:custGeom>
            <a:avLst/>
            <a:gdLst/>
            <a:ahLst/>
            <a:cxnLst/>
            <a:rect l="l" t="t" r="r" b="b"/>
            <a:pathLst>
              <a:path h="61595">
                <a:moveTo>
                  <a:pt x="0" y="61595"/>
                </a:moveTo>
                <a:lnTo>
                  <a:pt x="0" y="33782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4" name="object 184"/>
          <p:cNvSpPr/>
          <p:nvPr/>
        </p:nvSpPr>
        <p:spPr>
          <a:xfrm>
            <a:off x="2959354" y="3788546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5" name="object 185"/>
          <p:cNvSpPr/>
          <p:nvPr/>
        </p:nvSpPr>
        <p:spPr>
          <a:xfrm>
            <a:off x="2959354" y="3742413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6" name="object 186"/>
          <p:cNvSpPr/>
          <p:nvPr/>
        </p:nvSpPr>
        <p:spPr>
          <a:xfrm>
            <a:off x="4269867" y="2921071"/>
            <a:ext cx="57150" cy="138397"/>
          </a:xfrm>
          <a:custGeom>
            <a:avLst/>
            <a:gdLst/>
            <a:ahLst/>
            <a:cxnLst/>
            <a:rect l="l" t="t" r="r" b="b"/>
            <a:pathLst>
              <a:path w="57150" h="184785">
                <a:moveTo>
                  <a:pt x="28575" y="184784"/>
                </a:moveTo>
                <a:lnTo>
                  <a:pt x="28575" y="0"/>
                </a:lnTo>
                <a:lnTo>
                  <a:pt x="28575" y="184784"/>
                </a:lnTo>
                <a:close/>
              </a:path>
              <a:path w="57150" h="184785">
                <a:moveTo>
                  <a:pt x="0" y="184784"/>
                </a:moveTo>
                <a:lnTo>
                  <a:pt x="57150" y="184784"/>
                </a:lnTo>
              </a:path>
              <a:path w="57150" h="184785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7" name="object 187"/>
          <p:cNvSpPr/>
          <p:nvPr/>
        </p:nvSpPr>
        <p:spPr>
          <a:xfrm>
            <a:off x="4298442" y="2921071"/>
            <a:ext cx="0" cy="138397"/>
          </a:xfrm>
          <a:custGeom>
            <a:avLst/>
            <a:gdLst/>
            <a:ahLst/>
            <a:cxnLst/>
            <a:rect l="l" t="t" r="r" b="b"/>
            <a:pathLst>
              <a:path h="184785">
                <a:moveTo>
                  <a:pt x="0" y="184784"/>
                </a:moveTo>
                <a:lnTo>
                  <a:pt x="0" y="95376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8" name="object 188"/>
          <p:cNvSpPr/>
          <p:nvPr/>
        </p:nvSpPr>
        <p:spPr>
          <a:xfrm>
            <a:off x="4269867" y="3059466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9" name="object 189"/>
          <p:cNvSpPr/>
          <p:nvPr/>
        </p:nvSpPr>
        <p:spPr>
          <a:xfrm>
            <a:off x="4269867" y="2921070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0" name="object 190"/>
          <p:cNvSpPr/>
          <p:nvPr/>
        </p:nvSpPr>
        <p:spPr>
          <a:xfrm>
            <a:off x="5580380" y="3763149"/>
            <a:ext cx="57150" cy="39189"/>
          </a:xfrm>
          <a:custGeom>
            <a:avLst/>
            <a:gdLst/>
            <a:ahLst/>
            <a:cxnLst/>
            <a:rect l="l" t="t" r="r" b="b"/>
            <a:pathLst>
              <a:path w="57150" h="52324">
                <a:moveTo>
                  <a:pt x="28575" y="52324"/>
                </a:moveTo>
                <a:lnTo>
                  <a:pt x="28575" y="0"/>
                </a:lnTo>
                <a:lnTo>
                  <a:pt x="28575" y="52324"/>
                </a:lnTo>
                <a:close/>
              </a:path>
              <a:path w="57150" h="52324">
                <a:moveTo>
                  <a:pt x="0" y="52324"/>
                </a:moveTo>
                <a:lnTo>
                  <a:pt x="57150" y="52324"/>
                </a:lnTo>
              </a:path>
              <a:path w="57150" h="52324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1" name="object 191"/>
          <p:cNvSpPr/>
          <p:nvPr/>
        </p:nvSpPr>
        <p:spPr>
          <a:xfrm>
            <a:off x="5608955" y="3763149"/>
            <a:ext cx="0" cy="39189"/>
          </a:xfrm>
          <a:custGeom>
            <a:avLst/>
            <a:gdLst/>
            <a:ahLst/>
            <a:cxnLst/>
            <a:rect l="l" t="t" r="r" b="b"/>
            <a:pathLst>
              <a:path h="52324">
                <a:moveTo>
                  <a:pt x="0" y="52324"/>
                </a:moveTo>
                <a:lnTo>
                  <a:pt x="0" y="30861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2" name="object 192"/>
          <p:cNvSpPr/>
          <p:nvPr/>
        </p:nvSpPr>
        <p:spPr>
          <a:xfrm>
            <a:off x="5580380" y="3802338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3" name="object 193"/>
          <p:cNvSpPr/>
          <p:nvPr/>
        </p:nvSpPr>
        <p:spPr>
          <a:xfrm>
            <a:off x="5580380" y="3763149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4" name="object 194"/>
          <p:cNvSpPr/>
          <p:nvPr/>
        </p:nvSpPr>
        <p:spPr>
          <a:xfrm>
            <a:off x="6890766" y="2893296"/>
            <a:ext cx="57150" cy="140774"/>
          </a:xfrm>
          <a:custGeom>
            <a:avLst/>
            <a:gdLst/>
            <a:ahLst/>
            <a:cxnLst/>
            <a:rect l="l" t="t" r="r" b="b"/>
            <a:pathLst>
              <a:path w="57150" h="187960">
                <a:moveTo>
                  <a:pt x="28575" y="187959"/>
                </a:moveTo>
                <a:lnTo>
                  <a:pt x="28575" y="0"/>
                </a:lnTo>
                <a:lnTo>
                  <a:pt x="28575" y="187959"/>
                </a:lnTo>
                <a:close/>
              </a:path>
              <a:path w="57150" h="187960">
                <a:moveTo>
                  <a:pt x="0" y="187959"/>
                </a:moveTo>
                <a:lnTo>
                  <a:pt x="57150" y="187959"/>
                </a:lnTo>
              </a:path>
              <a:path w="57150" h="18796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5" name="object 195"/>
          <p:cNvSpPr/>
          <p:nvPr/>
        </p:nvSpPr>
        <p:spPr>
          <a:xfrm>
            <a:off x="6919341" y="2893296"/>
            <a:ext cx="0" cy="140774"/>
          </a:xfrm>
          <a:custGeom>
            <a:avLst/>
            <a:gdLst/>
            <a:ahLst/>
            <a:cxnLst/>
            <a:rect l="l" t="t" r="r" b="b"/>
            <a:pathLst>
              <a:path h="187960">
                <a:moveTo>
                  <a:pt x="0" y="187959"/>
                </a:moveTo>
                <a:lnTo>
                  <a:pt x="0" y="95503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6" name="object 196"/>
          <p:cNvSpPr/>
          <p:nvPr/>
        </p:nvSpPr>
        <p:spPr>
          <a:xfrm>
            <a:off x="6890766" y="3034071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7" name="object 197"/>
          <p:cNvSpPr/>
          <p:nvPr/>
        </p:nvSpPr>
        <p:spPr>
          <a:xfrm>
            <a:off x="6890766" y="2893296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8" name="object 198"/>
          <p:cNvSpPr/>
          <p:nvPr/>
        </p:nvSpPr>
        <p:spPr>
          <a:xfrm>
            <a:off x="8201279" y="3779320"/>
            <a:ext cx="57150" cy="34622"/>
          </a:xfrm>
          <a:custGeom>
            <a:avLst/>
            <a:gdLst/>
            <a:ahLst/>
            <a:cxnLst/>
            <a:rect l="l" t="t" r="r" b="b"/>
            <a:pathLst>
              <a:path w="57150" h="46227">
                <a:moveTo>
                  <a:pt x="28575" y="46227"/>
                </a:moveTo>
                <a:lnTo>
                  <a:pt x="28575" y="0"/>
                </a:lnTo>
                <a:lnTo>
                  <a:pt x="28575" y="46227"/>
                </a:lnTo>
                <a:close/>
              </a:path>
              <a:path w="57150" h="46227">
                <a:moveTo>
                  <a:pt x="0" y="46227"/>
                </a:moveTo>
                <a:lnTo>
                  <a:pt x="57150" y="46227"/>
                </a:lnTo>
              </a:path>
              <a:path w="57150" h="46227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9" name="object 199"/>
          <p:cNvSpPr/>
          <p:nvPr/>
        </p:nvSpPr>
        <p:spPr>
          <a:xfrm>
            <a:off x="8229854" y="3779320"/>
            <a:ext cx="0" cy="34622"/>
          </a:xfrm>
          <a:custGeom>
            <a:avLst/>
            <a:gdLst/>
            <a:ahLst/>
            <a:cxnLst/>
            <a:rect l="l" t="t" r="r" b="b"/>
            <a:pathLst>
              <a:path h="46227">
                <a:moveTo>
                  <a:pt x="0" y="46227"/>
                </a:moveTo>
                <a:lnTo>
                  <a:pt x="0" y="27685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0" name="object 200"/>
          <p:cNvSpPr/>
          <p:nvPr/>
        </p:nvSpPr>
        <p:spPr>
          <a:xfrm>
            <a:off x="8201279" y="3813942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1" name="object 201"/>
          <p:cNvSpPr/>
          <p:nvPr/>
        </p:nvSpPr>
        <p:spPr>
          <a:xfrm>
            <a:off x="8201279" y="3779319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2" name="object 202"/>
          <p:cNvSpPr/>
          <p:nvPr/>
        </p:nvSpPr>
        <p:spPr>
          <a:xfrm>
            <a:off x="1940052" y="2623446"/>
            <a:ext cx="57150" cy="184529"/>
          </a:xfrm>
          <a:custGeom>
            <a:avLst/>
            <a:gdLst/>
            <a:ahLst/>
            <a:cxnLst/>
            <a:rect l="l" t="t" r="r" b="b"/>
            <a:pathLst>
              <a:path w="57150" h="246380">
                <a:moveTo>
                  <a:pt x="28575" y="246380"/>
                </a:moveTo>
                <a:lnTo>
                  <a:pt x="28575" y="0"/>
                </a:lnTo>
                <a:lnTo>
                  <a:pt x="28575" y="246380"/>
                </a:lnTo>
                <a:close/>
              </a:path>
              <a:path w="57150" h="246380">
                <a:moveTo>
                  <a:pt x="0" y="246380"/>
                </a:moveTo>
                <a:lnTo>
                  <a:pt x="57150" y="246380"/>
                </a:lnTo>
              </a:path>
              <a:path w="57150" h="246380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3" name="object 203"/>
          <p:cNvSpPr/>
          <p:nvPr/>
        </p:nvSpPr>
        <p:spPr>
          <a:xfrm>
            <a:off x="1968627" y="2623446"/>
            <a:ext cx="0" cy="184529"/>
          </a:xfrm>
          <a:custGeom>
            <a:avLst/>
            <a:gdLst/>
            <a:ahLst/>
            <a:cxnLst/>
            <a:rect l="l" t="t" r="r" b="b"/>
            <a:pathLst>
              <a:path h="246380">
                <a:moveTo>
                  <a:pt x="0" y="246380"/>
                </a:moveTo>
                <a:lnTo>
                  <a:pt x="0" y="123189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4" name="object 204"/>
          <p:cNvSpPr/>
          <p:nvPr/>
        </p:nvSpPr>
        <p:spPr>
          <a:xfrm>
            <a:off x="1940052" y="2807975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5" name="object 205"/>
          <p:cNvSpPr/>
          <p:nvPr/>
        </p:nvSpPr>
        <p:spPr>
          <a:xfrm>
            <a:off x="1940052" y="2623447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6" name="object 206"/>
          <p:cNvSpPr/>
          <p:nvPr/>
        </p:nvSpPr>
        <p:spPr>
          <a:xfrm>
            <a:off x="3250565" y="3735470"/>
            <a:ext cx="57150" cy="60019"/>
          </a:xfrm>
          <a:custGeom>
            <a:avLst/>
            <a:gdLst/>
            <a:ahLst/>
            <a:cxnLst/>
            <a:rect l="l" t="t" r="r" b="b"/>
            <a:pathLst>
              <a:path w="57150" h="80137">
                <a:moveTo>
                  <a:pt x="28575" y="80136"/>
                </a:moveTo>
                <a:lnTo>
                  <a:pt x="28575" y="0"/>
                </a:lnTo>
                <a:lnTo>
                  <a:pt x="28575" y="80136"/>
                </a:lnTo>
                <a:close/>
              </a:path>
              <a:path w="57150" h="80137">
                <a:moveTo>
                  <a:pt x="0" y="80136"/>
                </a:moveTo>
                <a:lnTo>
                  <a:pt x="57150" y="80136"/>
                </a:lnTo>
              </a:path>
              <a:path w="57150" h="80137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7" name="object 207"/>
          <p:cNvSpPr/>
          <p:nvPr/>
        </p:nvSpPr>
        <p:spPr>
          <a:xfrm>
            <a:off x="3279140" y="3735470"/>
            <a:ext cx="0" cy="60019"/>
          </a:xfrm>
          <a:custGeom>
            <a:avLst/>
            <a:gdLst/>
            <a:ahLst/>
            <a:cxnLst/>
            <a:rect l="l" t="t" r="r" b="b"/>
            <a:pathLst>
              <a:path h="80137">
                <a:moveTo>
                  <a:pt x="0" y="80136"/>
                </a:moveTo>
                <a:lnTo>
                  <a:pt x="0" y="46227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8" name="object 208"/>
          <p:cNvSpPr/>
          <p:nvPr/>
        </p:nvSpPr>
        <p:spPr>
          <a:xfrm>
            <a:off x="3250565" y="3795489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09" name="object 209"/>
          <p:cNvSpPr/>
          <p:nvPr/>
        </p:nvSpPr>
        <p:spPr>
          <a:xfrm>
            <a:off x="3250565" y="3735470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0" name="object 210"/>
          <p:cNvSpPr/>
          <p:nvPr/>
        </p:nvSpPr>
        <p:spPr>
          <a:xfrm>
            <a:off x="4561078" y="2969486"/>
            <a:ext cx="57150" cy="177680"/>
          </a:xfrm>
          <a:custGeom>
            <a:avLst/>
            <a:gdLst/>
            <a:ahLst/>
            <a:cxnLst/>
            <a:rect l="l" t="t" r="r" b="b"/>
            <a:pathLst>
              <a:path w="57150" h="237236">
                <a:moveTo>
                  <a:pt x="28575" y="237236"/>
                </a:moveTo>
                <a:lnTo>
                  <a:pt x="28575" y="0"/>
                </a:lnTo>
                <a:lnTo>
                  <a:pt x="28575" y="237236"/>
                </a:lnTo>
                <a:close/>
              </a:path>
              <a:path w="57150" h="237236">
                <a:moveTo>
                  <a:pt x="0" y="237236"/>
                </a:moveTo>
                <a:lnTo>
                  <a:pt x="57150" y="237236"/>
                </a:lnTo>
              </a:path>
              <a:path w="57150" h="237236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1" name="object 211"/>
          <p:cNvSpPr/>
          <p:nvPr/>
        </p:nvSpPr>
        <p:spPr>
          <a:xfrm>
            <a:off x="4589653" y="2969486"/>
            <a:ext cx="0" cy="177680"/>
          </a:xfrm>
          <a:custGeom>
            <a:avLst/>
            <a:gdLst/>
            <a:ahLst/>
            <a:cxnLst/>
            <a:rect l="l" t="t" r="r" b="b"/>
            <a:pathLst>
              <a:path h="237236">
                <a:moveTo>
                  <a:pt x="0" y="237236"/>
                </a:moveTo>
                <a:lnTo>
                  <a:pt x="0" y="120142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2" name="object 212"/>
          <p:cNvSpPr/>
          <p:nvPr/>
        </p:nvSpPr>
        <p:spPr>
          <a:xfrm>
            <a:off x="4561078" y="3147166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3" name="object 213"/>
          <p:cNvSpPr/>
          <p:nvPr/>
        </p:nvSpPr>
        <p:spPr>
          <a:xfrm>
            <a:off x="4561078" y="2969485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4" name="object 214"/>
          <p:cNvSpPr/>
          <p:nvPr/>
        </p:nvSpPr>
        <p:spPr>
          <a:xfrm>
            <a:off x="5871591" y="3749261"/>
            <a:ext cx="57150" cy="55454"/>
          </a:xfrm>
          <a:custGeom>
            <a:avLst/>
            <a:gdLst/>
            <a:ahLst/>
            <a:cxnLst/>
            <a:rect l="l" t="t" r="r" b="b"/>
            <a:pathLst>
              <a:path w="57150" h="74041">
                <a:moveTo>
                  <a:pt x="28575" y="74041"/>
                </a:moveTo>
                <a:lnTo>
                  <a:pt x="28575" y="0"/>
                </a:lnTo>
                <a:lnTo>
                  <a:pt x="28575" y="74041"/>
                </a:lnTo>
                <a:close/>
              </a:path>
              <a:path w="57150" h="74041">
                <a:moveTo>
                  <a:pt x="0" y="74041"/>
                </a:moveTo>
                <a:lnTo>
                  <a:pt x="57150" y="74041"/>
                </a:lnTo>
              </a:path>
              <a:path w="57150" h="74041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5" name="object 215"/>
          <p:cNvSpPr/>
          <p:nvPr/>
        </p:nvSpPr>
        <p:spPr>
          <a:xfrm>
            <a:off x="5900166" y="3749261"/>
            <a:ext cx="0" cy="55454"/>
          </a:xfrm>
          <a:custGeom>
            <a:avLst/>
            <a:gdLst/>
            <a:ahLst/>
            <a:cxnLst/>
            <a:rect l="l" t="t" r="r" b="b"/>
            <a:pathLst>
              <a:path h="74041">
                <a:moveTo>
                  <a:pt x="0" y="74041"/>
                </a:moveTo>
                <a:lnTo>
                  <a:pt x="0" y="43180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6" name="object 216"/>
          <p:cNvSpPr/>
          <p:nvPr/>
        </p:nvSpPr>
        <p:spPr>
          <a:xfrm>
            <a:off x="5871591" y="3804716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7" name="object 217"/>
          <p:cNvSpPr/>
          <p:nvPr/>
        </p:nvSpPr>
        <p:spPr>
          <a:xfrm>
            <a:off x="5871591" y="3749261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8" name="object 218"/>
          <p:cNvSpPr/>
          <p:nvPr/>
        </p:nvSpPr>
        <p:spPr>
          <a:xfrm>
            <a:off x="7181977" y="3001731"/>
            <a:ext cx="57150" cy="173114"/>
          </a:xfrm>
          <a:custGeom>
            <a:avLst/>
            <a:gdLst/>
            <a:ahLst/>
            <a:cxnLst/>
            <a:rect l="l" t="t" r="r" b="b"/>
            <a:pathLst>
              <a:path w="57150" h="231139">
                <a:moveTo>
                  <a:pt x="28575" y="231139"/>
                </a:moveTo>
                <a:lnTo>
                  <a:pt x="28575" y="0"/>
                </a:lnTo>
                <a:lnTo>
                  <a:pt x="28575" y="231139"/>
                </a:lnTo>
                <a:close/>
              </a:path>
              <a:path w="57150" h="231139">
                <a:moveTo>
                  <a:pt x="0" y="231139"/>
                </a:moveTo>
                <a:lnTo>
                  <a:pt x="57150" y="231139"/>
                </a:lnTo>
              </a:path>
              <a:path w="57150" h="231139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19" name="object 219"/>
          <p:cNvSpPr/>
          <p:nvPr/>
        </p:nvSpPr>
        <p:spPr>
          <a:xfrm>
            <a:off x="7210552" y="3001731"/>
            <a:ext cx="0" cy="173114"/>
          </a:xfrm>
          <a:custGeom>
            <a:avLst/>
            <a:gdLst/>
            <a:ahLst/>
            <a:cxnLst/>
            <a:rect l="l" t="t" r="r" b="b"/>
            <a:pathLst>
              <a:path h="231139">
                <a:moveTo>
                  <a:pt x="0" y="231139"/>
                </a:moveTo>
                <a:lnTo>
                  <a:pt x="0" y="117093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0" name="object 220"/>
          <p:cNvSpPr/>
          <p:nvPr/>
        </p:nvSpPr>
        <p:spPr>
          <a:xfrm>
            <a:off x="7181977" y="3174845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1" name="object 221"/>
          <p:cNvSpPr/>
          <p:nvPr/>
        </p:nvSpPr>
        <p:spPr>
          <a:xfrm>
            <a:off x="7181977" y="3001730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2" name="object 222"/>
          <p:cNvSpPr/>
          <p:nvPr/>
        </p:nvSpPr>
        <p:spPr>
          <a:xfrm>
            <a:off x="8492490" y="3795490"/>
            <a:ext cx="57150" cy="29962"/>
          </a:xfrm>
          <a:custGeom>
            <a:avLst/>
            <a:gdLst/>
            <a:ahLst/>
            <a:cxnLst/>
            <a:rect l="l" t="t" r="r" b="b"/>
            <a:pathLst>
              <a:path w="57150" h="40004">
                <a:moveTo>
                  <a:pt x="28575" y="40005"/>
                </a:moveTo>
                <a:lnTo>
                  <a:pt x="28575" y="0"/>
                </a:lnTo>
                <a:lnTo>
                  <a:pt x="28575" y="40005"/>
                </a:lnTo>
                <a:close/>
              </a:path>
              <a:path w="57150" h="40004">
                <a:moveTo>
                  <a:pt x="0" y="40005"/>
                </a:moveTo>
                <a:lnTo>
                  <a:pt x="57150" y="40005"/>
                </a:lnTo>
              </a:path>
              <a:path w="57150" h="40004">
                <a:moveTo>
                  <a:pt x="0" y="0"/>
                </a:moveTo>
                <a:lnTo>
                  <a:pt x="57150" y="0"/>
                </a:lnTo>
              </a:path>
            </a:pathLst>
          </a:custGeom>
          <a:solidFill>
            <a:srgbClr val="685D5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3" name="object 223"/>
          <p:cNvSpPr/>
          <p:nvPr/>
        </p:nvSpPr>
        <p:spPr>
          <a:xfrm>
            <a:off x="8521065" y="3795490"/>
            <a:ext cx="0" cy="29962"/>
          </a:xfrm>
          <a:custGeom>
            <a:avLst/>
            <a:gdLst/>
            <a:ahLst/>
            <a:cxnLst/>
            <a:rect l="l" t="t" r="r" b="b"/>
            <a:pathLst>
              <a:path h="40004">
                <a:moveTo>
                  <a:pt x="0" y="40005"/>
                </a:moveTo>
                <a:lnTo>
                  <a:pt x="0" y="27686"/>
                </a:lnTo>
                <a:lnTo>
                  <a:pt x="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4" name="object 224"/>
          <p:cNvSpPr/>
          <p:nvPr/>
        </p:nvSpPr>
        <p:spPr>
          <a:xfrm>
            <a:off x="8492490" y="3825451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5" name="object 225"/>
          <p:cNvSpPr/>
          <p:nvPr/>
        </p:nvSpPr>
        <p:spPr>
          <a:xfrm>
            <a:off x="8492490" y="3795489"/>
            <a:ext cx="57150" cy="0"/>
          </a:xfrm>
          <a:custGeom>
            <a:avLst/>
            <a:gdLst/>
            <a:ahLst/>
            <a:cxnLst/>
            <a:rect l="l" t="t" r="r" b="b"/>
            <a:pathLst>
              <a:path w="57150">
                <a:moveTo>
                  <a:pt x="0" y="0"/>
                </a:moveTo>
                <a:lnTo>
                  <a:pt x="57150" y="0"/>
                </a:lnTo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6" name="object 226"/>
          <p:cNvSpPr/>
          <p:nvPr/>
        </p:nvSpPr>
        <p:spPr>
          <a:xfrm>
            <a:off x="1022604" y="1520363"/>
            <a:ext cx="0" cy="2307941"/>
          </a:xfrm>
          <a:custGeom>
            <a:avLst/>
            <a:gdLst/>
            <a:ahLst/>
            <a:cxnLst/>
            <a:rect l="l" t="t" r="r" b="b"/>
            <a:pathLst>
              <a:path h="3081528">
                <a:moveTo>
                  <a:pt x="0" y="3081528"/>
                </a:moveTo>
                <a:lnTo>
                  <a:pt x="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7" name="object 227"/>
          <p:cNvSpPr/>
          <p:nvPr/>
        </p:nvSpPr>
        <p:spPr>
          <a:xfrm>
            <a:off x="969263" y="3828305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8" name="object 228"/>
          <p:cNvSpPr/>
          <p:nvPr/>
        </p:nvSpPr>
        <p:spPr>
          <a:xfrm>
            <a:off x="969263" y="3596598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29" name="object 229"/>
          <p:cNvSpPr/>
          <p:nvPr/>
        </p:nvSpPr>
        <p:spPr>
          <a:xfrm>
            <a:off x="969263" y="3366032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0" name="object 230"/>
          <p:cNvSpPr/>
          <p:nvPr/>
        </p:nvSpPr>
        <p:spPr>
          <a:xfrm>
            <a:off x="969263" y="3135466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1" name="object 231"/>
          <p:cNvSpPr/>
          <p:nvPr/>
        </p:nvSpPr>
        <p:spPr>
          <a:xfrm>
            <a:off x="969263" y="2904900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2" name="object 232"/>
          <p:cNvSpPr/>
          <p:nvPr/>
        </p:nvSpPr>
        <p:spPr>
          <a:xfrm>
            <a:off x="969263" y="2674335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3" name="object 233"/>
          <p:cNvSpPr/>
          <p:nvPr/>
        </p:nvSpPr>
        <p:spPr>
          <a:xfrm>
            <a:off x="969263" y="2443769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4" name="object 234"/>
          <p:cNvSpPr/>
          <p:nvPr/>
        </p:nvSpPr>
        <p:spPr>
          <a:xfrm>
            <a:off x="969263" y="2213203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5" name="object 235"/>
          <p:cNvSpPr/>
          <p:nvPr/>
        </p:nvSpPr>
        <p:spPr>
          <a:xfrm>
            <a:off x="969263" y="1981496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6" name="object 236"/>
          <p:cNvSpPr/>
          <p:nvPr/>
        </p:nvSpPr>
        <p:spPr>
          <a:xfrm>
            <a:off x="969263" y="1750930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7" name="object 237"/>
          <p:cNvSpPr/>
          <p:nvPr/>
        </p:nvSpPr>
        <p:spPr>
          <a:xfrm>
            <a:off x="969263" y="1520364"/>
            <a:ext cx="53340" cy="0"/>
          </a:xfrm>
          <a:custGeom>
            <a:avLst/>
            <a:gdLst/>
            <a:ahLst/>
            <a:cxnLst/>
            <a:rect l="l" t="t" r="r" b="b"/>
            <a:pathLst>
              <a:path w="53340">
                <a:moveTo>
                  <a:pt x="0" y="0"/>
                </a:moveTo>
                <a:lnTo>
                  <a:pt x="53340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8" name="object 238"/>
          <p:cNvSpPr/>
          <p:nvPr/>
        </p:nvSpPr>
        <p:spPr>
          <a:xfrm>
            <a:off x="1022604" y="3828305"/>
            <a:ext cx="7862316" cy="0"/>
          </a:xfrm>
          <a:custGeom>
            <a:avLst/>
            <a:gdLst/>
            <a:ahLst/>
            <a:cxnLst/>
            <a:rect l="l" t="t" r="r" b="b"/>
            <a:pathLst>
              <a:path w="7862316">
                <a:moveTo>
                  <a:pt x="0" y="0"/>
                </a:moveTo>
                <a:lnTo>
                  <a:pt x="7862316" y="0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39" name="object 239"/>
          <p:cNvSpPr/>
          <p:nvPr/>
        </p:nvSpPr>
        <p:spPr>
          <a:xfrm>
            <a:off x="1022604" y="3828305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0" name="object 240"/>
          <p:cNvSpPr/>
          <p:nvPr/>
        </p:nvSpPr>
        <p:spPr>
          <a:xfrm>
            <a:off x="1022604" y="3828305"/>
            <a:ext cx="0" cy="239697"/>
          </a:xfrm>
          <a:custGeom>
            <a:avLst/>
            <a:gdLst/>
            <a:ahLst/>
            <a:cxnLst/>
            <a:rect l="l" t="t" r="r" b="b"/>
            <a:pathLst>
              <a:path h="320040">
                <a:moveTo>
                  <a:pt x="0" y="0"/>
                </a:moveTo>
                <a:lnTo>
                  <a:pt x="0" y="3200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1" name="object 241"/>
          <p:cNvSpPr/>
          <p:nvPr/>
        </p:nvSpPr>
        <p:spPr>
          <a:xfrm>
            <a:off x="2333244" y="3828305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2" name="object 242"/>
          <p:cNvSpPr/>
          <p:nvPr/>
        </p:nvSpPr>
        <p:spPr>
          <a:xfrm>
            <a:off x="2333244" y="3828305"/>
            <a:ext cx="0" cy="239697"/>
          </a:xfrm>
          <a:custGeom>
            <a:avLst/>
            <a:gdLst/>
            <a:ahLst/>
            <a:cxnLst/>
            <a:rect l="l" t="t" r="r" b="b"/>
            <a:pathLst>
              <a:path h="320040">
                <a:moveTo>
                  <a:pt x="0" y="0"/>
                </a:moveTo>
                <a:lnTo>
                  <a:pt x="0" y="3200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3" name="object 243"/>
          <p:cNvSpPr/>
          <p:nvPr/>
        </p:nvSpPr>
        <p:spPr>
          <a:xfrm>
            <a:off x="3643884" y="3828305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4" name="object 244"/>
          <p:cNvSpPr/>
          <p:nvPr/>
        </p:nvSpPr>
        <p:spPr>
          <a:xfrm>
            <a:off x="3643884" y="3828305"/>
            <a:ext cx="0" cy="239697"/>
          </a:xfrm>
          <a:custGeom>
            <a:avLst/>
            <a:gdLst/>
            <a:ahLst/>
            <a:cxnLst/>
            <a:rect l="l" t="t" r="r" b="b"/>
            <a:pathLst>
              <a:path h="320040">
                <a:moveTo>
                  <a:pt x="0" y="0"/>
                </a:moveTo>
                <a:lnTo>
                  <a:pt x="0" y="3200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5" name="object 245"/>
          <p:cNvSpPr/>
          <p:nvPr/>
        </p:nvSpPr>
        <p:spPr>
          <a:xfrm>
            <a:off x="4953000" y="3828305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6" name="object 246"/>
          <p:cNvSpPr/>
          <p:nvPr/>
        </p:nvSpPr>
        <p:spPr>
          <a:xfrm>
            <a:off x="4953000" y="3828305"/>
            <a:ext cx="0" cy="239697"/>
          </a:xfrm>
          <a:custGeom>
            <a:avLst/>
            <a:gdLst/>
            <a:ahLst/>
            <a:cxnLst/>
            <a:rect l="l" t="t" r="r" b="b"/>
            <a:pathLst>
              <a:path h="320040">
                <a:moveTo>
                  <a:pt x="0" y="0"/>
                </a:moveTo>
                <a:lnTo>
                  <a:pt x="0" y="3200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7" name="object 247"/>
          <p:cNvSpPr/>
          <p:nvPr/>
        </p:nvSpPr>
        <p:spPr>
          <a:xfrm>
            <a:off x="6263640" y="3828305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8" name="object 248"/>
          <p:cNvSpPr/>
          <p:nvPr/>
        </p:nvSpPr>
        <p:spPr>
          <a:xfrm>
            <a:off x="6263640" y="3828305"/>
            <a:ext cx="0" cy="239697"/>
          </a:xfrm>
          <a:custGeom>
            <a:avLst/>
            <a:gdLst/>
            <a:ahLst/>
            <a:cxnLst/>
            <a:rect l="l" t="t" r="r" b="b"/>
            <a:pathLst>
              <a:path h="320040">
                <a:moveTo>
                  <a:pt x="0" y="0"/>
                </a:moveTo>
                <a:lnTo>
                  <a:pt x="0" y="3200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49" name="object 249"/>
          <p:cNvSpPr/>
          <p:nvPr/>
        </p:nvSpPr>
        <p:spPr>
          <a:xfrm>
            <a:off x="7574280" y="3828305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0" name="object 250"/>
          <p:cNvSpPr/>
          <p:nvPr/>
        </p:nvSpPr>
        <p:spPr>
          <a:xfrm>
            <a:off x="7574280" y="3828305"/>
            <a:ext cx="0" cy="239697"/>
          </a:xfrm>
          <a:custGeom>
            <a:avLst/>
            <a:gdLst/>
            <a:ahLst/>
            <a:cxnLst/>
            <a:rect l="l" t="t" r="r" b="b"/>
            <a:pathLst>
              <a:path h="320040">
                <a:moveTo>
                  <a:pt x="0" y="0"/>
                </a:moveTo>
                <a:lnTo>
                  <a:pt x="0" y="3200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1" name="object 251"/>
          <p:cNvSpPr/>
          <p:nvPr/>
        </p:nvSpPr>
        <p:spPr>
          <a:xfrm>
            <a:off x="8884920" y="3828305"/>
            <a:ext cx="0" cy="39950"/>
          </a:xfrm>
          <a:custGeom>
            <a:avLst/>
            <a:gdLst/>
            <a:ahLst/>
            <a:cxnLst/>
            <a:rect l="l" t="t" r="r" b="b"/>
            <a:pathLst>
              <a:path h="53340">
                <a:moveTo>
                  <a:pt x="0" y="0"/>
                </a:moveTo>
                <a:lnTo>
                  <a:pt x="0" y="533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2" name="object 252"/>
          <p:cNvSpPr/>
          <p:nvPr/>
        </p:nvSpPr>
        <p:spPr>
          <a:xfrm>
            <a:off x="8884920" y="3828305"/>
            <a:ext cx="0" cy="239697"/>
          </a:xfrm>
          <a:custGeom>
            <a:avLst/>
            <a:gdLst/>
            <a:ahLst/>
            <a:cxnLst/>
            <a:rect l="l" t="t" r="r" b="b"/>
            <a:pathLst>
              <a:path h="320040">
                <a:moveTo>
                  <a:pt x="0" y="0"/>
                </a:moveTo>
                <a:lnTo>
                  <a:pt x="0" y="320039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3" name="object 253"/>
          <p:cNvSpPr/>
          <p:nvPr/>
        </p:nvSpPr>
        <p:spPr>
          <a:xfrm>
            <a:off x="1022604" y="4068002"/>
            <a:ext cx="0" cy="240838"/>
          </a:xfrm>
          <a:custGeom>
            <a:avLst/>
            <a:gdLst/>
            <a:ahLst/>
            <a:cxnLst/>
            <a:rect l="l" t="t" r="r" b="b"/>
            <a:pathLst>
              <a:path h="321563">
                <a:moveTo>
                  <a:pt x="0" y="0"/>
                </a:moveTo>
                <a:lnTo>
                  <a:pt x="0" y="321563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4" name="object 254"/>
          <p:cNvSpPr/>
          <p:nvPr/>
        </p:nvSpPr>
        <p:spPr>
          <a:xfrm>
            <a:off x="3643884" y="4068002"/>
            <a:ext cx="0" cy="240838"/>
          </a:xfrm>
          <a:custGeom>
            <a:avLst/>
            <a:gdLst/>
            <a:ahLst/>
            <a:cxnLst/>
            <a:rect l="l" t="t" r="r" b="b"/>
            <a:pathLst>
              <a:path h="321563">
                <a:moveTo>
                  <a:pt x="0" y="0"/>
                </a:moveTo>
                <a:lnTo>
                  <a:pt x="0" y="321563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5" name="object 255"/>
          <p:cNvSpPr/>
          <p:nvPr/>
        </p:nvSpPr>
        <p:spPr>
          <a:xfrm>
            <a:off x="6263640" y="4068002"/>
            <a:ext cx="0" cy="240838"/>
          </a:xfrm>
          <a:custGeom>
            <a:avLst/>
            <a:gdLst/>
            <a:ahLst/>
            <a:cxnLst/>
            <a:rect l="l" t="t" r="r" b="b"/>
            <a:pathLst>
              <a:path h="321563">
                <a:moveTo>
                  <a:pt x="0" y="0"/>
                </a:moveTo>
                <a:lnTo>
                  <a:pt x="0" y="321563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6" name="object 256"/>
          <p:cNvSpPr/>
          <p:nvPr/>
        </p:nvSpPr>
        <p:spPr>
          <a:xfrm>
            <a:off x="8884920" y="4068002"/>
            <a:ext cx="0" cy="240838"/>
          </a:xfrm>
          <a:custGeom>
            <a:avLst/>
            <a:gdLst/>
            <a:ahLst/>
            <a:cxnLst/>
            <a:rect l="l" t="t" r="r" b="b"/>
            <a:pathLst>
              <a:path h="321563">
                <a:moveTo>
                  <a:pt x="0" y="0"/>
                </a:moveTo>
                <a:lnTo>
                  <a:pt x="0" y="321563"/>
                </a:lnTo>
              </a:path>
            </a:pathLst>
          </a:custGeom>
          <a:ln w="3048">
            <a:solidFill>
              <a:srgbClr val="808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7" name="object 257"/>
          <p:cNvSpPr/>
          <p:nvPr/>
        </p:nvSpPr>
        <p:spPr>
          <a:xfrm>
            <a:off x="2331593" y="1311628"/>
            <a:ext cx="182562" cy="134354"/>
          </a:xfrm>
          <a:custGeom>
            <a:avLst/>
            <a:gdLst/>
            <a:ahLst/>
            <a:cxnLst/>
            <a:rect l="l" t="t" r="r" b="b"/>
            <a:pathLst>
              <a:path w="182562" h="179387">
                <a:moveTo>
                  <a:pt x="0" y="179387"/>
                </a:moveTo>
                <a:lnTo>
                  <a:pt x="182562" y="179387"/>
                </a:lnTo>
                <a:lnTo>
                  <a:pt x="182562" y="0"/>
                </a:lnTo>
                <a:lnTo>
                  <a:pt x="0" y="0"/>
                </a:lnTo>
                <a:lnTo>
                  <a:pt x="0" y="179387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8" name="object 258"/>
          <p:cNvSpPr/>
          <p:nvPr/>
        </p:nvSpPr>
        <p:spPr>
          <a:xfrm>
            <a:off x="3942842" y="1309297"/>
            <a:ext cx="179387" cy="135543"/>
          </a:xfrm>
          <a:custGeom>
            <a:avLst/>
            <a:gdLst/>
            <a:ahLst/>
            <a:cxnLst/>
            <a:rect l="l" t="t" r="r" b="b"/>
            <a:pathLst>
              <a:path w="179387" h="180975">
                <a:moveTo>
                  <a:pt x="0" y="180975"/>
                </a:moveTo>
                <a:lnTo>
                  <a:pt x="179387" y="180975"/>
                </a:lnTo>
                <a:lnTo>
                  <a:pt x="179387" y="0"/>
                </a:lnTo>
                <a:lnTo>
                  <a:pt x="0" y="0"/>
                </a:lnTo>
                <a:lnTo>
                  <a:pt x="0" y="180975"/>
                </a:lnTo>
                <a:close/>
              </a:path>
            </a:pathLst>
          </a:custGeom>
          <a:solidFill>
            <a:srgbClr val="4F81BC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59" name="object 259"/>
          <p:cNvSpPr/>
          <p:nvPr/>
        </p:nvSpPr>
        <p:spPr>
          <a:xfrm>
            <a:off x="5576443" y="1314053"/>
            <a:ext cx="180975" cy="135543"/>
          </a:xfrm>
          <a:custGeom>
            <a:avLst/>
            <a:gdLst/>
            <a:ahLst/>
            <a:cxnLst/>
            <a:rect l="l" t="t" r="r" b="b"/>
            <a:pathLst>
              <a:path w="180975" h="180975">
                <a:moveTo>
                  <a:pt x="0" y="180975"/>
                </a:moveTo>
                <a:lnTo>
                  <a:pt x="180975" y="180975"/>
                </a:lnTo>
                <a:lnTo>
                  <a:pt x="180975" y="0"/>
                </a:lnTo>
                <a:lnTo>
                  <a:pt x="0" y="0"/>
                </a:lnTo>
                <a:lnTo>
                  <a:pt x="0" y="180975"/>
                </a:lnTo>
                <a:close/>
              </a:path>
            </a:pathLst>
          </a:custGeom>
          <a:solidFill>
            <a:srgbClr val="FD6600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0" name="object 130"/>
          <p:cNvSpPr txBox="1"/>
          <p:nvPr/>
        </p:nvSpPr>
        <p:spPr>
          <a:xfrm>
            <a:off x="-1692696" y="0"/>
            <a:ext cx="4905639" cy="2852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960"/>
              </a:lnSpc>
              <a:spcBef>
                <a:spcPts val="148"/>
              </a:spcBef>
            </a:pPr>
            <a:r>
              <a:rPr lang="fr-BE" sz="2800" dirty="0" smtClean="0">
                <a:solidFill>
                  <a:srgbClr val="DD1812"/>
                </a:solidFill>
                <a:latin typeface="Arial"/>
                <a:cs typeface="Arial"/>
              </a:rPr>
              <a:t>		</a:t>
            </a:r>
            <a:r>
              <a:rPr sz="2800" b="1" dirty="0" smtClean="0">
                <a:solidFill>
                  <a:srgbClr val="DD1812"/>
                </a:solidFill>
                <a:latin typeface="Arial"/>
                <a:cs typeface="Arial"/>
              </a:rPr>
              <a:t>Safet</a:t>
            </a:r>
            <a:r>
              <a:rPr sz="2800" b="1" spc="9" dirty="0" smtClean="0">
                <a:solidFill>
                  <a:srgbClr val="DD1812"/>
                </a:solidFill>
                <a:latin typeface="Arial"/>
                <a:cs typeface="Arial"/>
              </a:rPr>
              <a:t>y</a:t>
            </a:r>
            <a:r>
              <a:rPr sz="2800" b="1" dirty="0" smtClean="0">
                <a:solidFill>
                  <a:srgbClr val="DD1812"/>
                </a:solidFill>
                <a:latin typeface="Arial"/>
                <a:cs typeface="Arial"/>
              </a:rPr>
              <a:t>:</a:t>
            </a:r>
            <a:r>
              <a:rPr sz="2800" spc="-14" dirty="0" smtClean="0">
                <a:solidFill>
                  <a:srgbClr val="DD1812"/>
                </a:solidFill>
                <a:latin typeface="Arial"/>
                <a:cs typeface="Arial"/>
              </a:rPr>
              <a:t> </a:t>
            </a:r>
            <a:r>
              <a:rPr sz="2800" spc="-6" dirty="0" smtClean="0">
                <a:solidFill>
                  <a:srgbClr val="DD1812"/>
                </a:solidFill>
                <a:latin typeface="Arial"/>
                <a:cs typeface="Arial"/>
              </a:rPr>
              <a:t> </a:t>
            </a:r>
            <a:r>
              <a:rPr sz="2800" dirty="0" smtClean="0">
                <a:solidFill>
                  <a:srgbClr val="DD1812"/>
                </a:solidFill>
                <a:latin typeface="Arial"/>
                <a:cs typeface="Arial"/>
              </a:rPr>
              <a:t>ad</a:t>
            </a:r>
            <a:r>
              <a:rPr sz="2800" spc="9" dirty="0" smtClean="0">
                <a:solidFill>
                  <a:srgbClr val="DD1812"/>
                </a:solidFill>
                <a:latin typeface="Arial"/>
                <a:cs typeface="Arial"/>
              </a:rPr>
              <a:t>u</a:t>
            </a:r>
            <a:r>
              <a:rPr sz="2800" dirty="0" smtClean="0">
                <a:solidFill>
                  <a:srgbClr val="DD1812"/>
                </a:solidFill>
                <a:latin typeface="Arial"/>
                <a:cs typeface="Arial"/>
              </a:rPr>
              <a:t>lts</a:t>
            </a:r>
            <a:endParaRPr sz="28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9" name="object 129"/>
          <p:cNvSpPr txBox="1"/>
          <p:nvPr/>
        </p:nvSpPr>
        <p:spPr>
          <a:xfrm>
            <a:off x="2843808" y="0"/>
            <a:ext cx="1895431" cy="2538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620"/>
              </a:lnSpc>
              <a:spcBef>
                <a:spcPts val="131"/>
              </a:spcBef>
            </a:pPr>
            <a:r>
              <a:rPr sz="2400" dirty="0" smtClean="0">
                <a:solidFill>
                  <a:srgbClr val="DD1812"/>
                </a:solidFill>
                <a:latin typeface="Arial"/>
                <a:cs typeface="Arial"/>
              </a:rPr>
              <a:t>(≥18</a:t>
            </a:r>
            <a:r>
              <a:rPr sz="2400" spc="4" dirty="0" smtClean="0">
                <a:solidFill>
                  <a:srgbClr val="DD1812"/>
                </a:solidFill>
                <a:latin typeface="Arial"/>
                <a:cs typeface="Arial"/>
              </a:rPr>
              <a:t> </a:t>
            </a:r>
            <a:r>
              <a:rPr lang="fr-BE" sz="2400" spc="4" dirty="0" smtClean="0">
                <a:solidFill>
                  <a:srgbClr val="DD1812"/>
                </a:solidFill>
                <a:latin typeface="Arial"/>
                <a:cs typeface="Arial"/>
              </a:rPr>
              <a:t>y</a:t>
            </a:r>
            <a:r>
              <a:rPr sz="2400" spc="9" dirty="0" smtClean="0">
                <a:solidFill>
                  <a:srgbClr val="DD1812"/>
                </a:solidFill>
                <a:latin typeface="Arial"/>
                <a:cs typeface="Arial"/>
              </a:rPr>
              <a:t>)</a:t>
            </a:r>
            <a:r>
              <a:rPr sz="2400" baseline="25364" dirty="0" smtClean="0">
                <a:solidFill>
                  <a:srgbClr val="DD1812"/>
                </a:solidFill>
                <a:latin typeface="Arial"/>
                <a:cs typeface="Arial"/>
              </a:rPr>
              <a:t>1,2</a:t>
            </a:r>
            <a:endParaRPr sz="16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8" name="object 128"/>
          <p:cNvSpPr txBox="1"/>
          <p:nvPr/>
        </p:nvSpPr>
        <p:spPr>
          <a:xfrm>
            <a:off x="417982" y="518891"/>
            <a:ext cx="1510690" cy="2473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sz="2400" spc="-4" dirty="0" smtClean="0">
                <a:solidFill>
                  <a:srgbClr val="404040"/>
                </a:solidFill>
                <a:latin typeface="Arial"/>
                <a:cs typeface="Arial"/>
              </a:rPr>
              <a:t>S</a:t>
            </a:r>
            <a:r>
              <a:rPr sz="2400" dirty="0" smtClean="0">
                <a:solidFill>
                  <a:srgbClr val="404040"/>
                </a:solidFill>
                <a:latin typeface="Arial"/>
                <a:cs typeface="Arial"/>
              </a:rPr>
              <a:t>ymp</a:t>
            </a:r>
            <a:r>
              <a:rPr sz="2400" spc="4" dirty="0" smtClean="0">
                <a:solidFill>
                  <a:srgbClr val="404040"/>
                </a:solidFill>
                <a:latin typeface="Arial"/>
                <a:cs typeface="Arial"/>
              </a:rPr>
              <a:t>t</a:t>
            </a:r>
            <a:r>
              <a:rPr sz="2400" dirty="0" smtClean="0">
                <a:solidFill>
                  <a:srgbClr val="404040"/>
                </a:solidFill>
                <a:latin typeface="Arial"/>
                <a:cs typeface="Arial"/>
              </a:rPr>
              <a:t>om</a:t>
            </a:r>
            <a:r>
              <a:rPr lang="fr-BE" sz="2400" dirty="0" smtClean="0">
                <a:solidFill>
                  <a:srgbClr val="404040"/>
                </a:solidFill>
                <a:latin typeface="Arial"/>
                <a:cs typeface="Arial"/>
              </a:rPr>
              <a:t>s</a:t>
            </a:r>
            <a:r>
              <a:rPr sz="2400" dirty="0" smtClean="0">
                <a:solidFill>
                  <a:srgbClr val="404040"/>
                </a:solidFill>
                <a:latin typeface="Arial"/>
                <a:cs typeface="Arial"/>
              </a:rPr>
              <a:t>s</a:t>
            </a:r>
            <a:endParaRPr sz="24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7" name="object 127"/>
          <p:cNvSpPr txBox="1"/>
          <p:nvPr/>
        </p:nvSpPr>
        <p:spPr>
          <a:xfrm>
            <a:off x="1940153" y="518891"/>
            <a:ext cx="2013000" cy="2473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r>
              <a:rPr lang="fr-BE" sz="2400" dirty="0" smtClean="0">
                <a:solidFill>
                  <a:srgbClr val="404040"/>
                </a:solidFill>
                <a:latin typeface="Arial"/>
                <a:cs typeface="Arial"/>
              </a:rPr>
              <a:t>  </a:t>
            </a:r>
            <a:r>
              <a:rPr sz="2400" dirty="0" smtClean="0">
                <a:solidFill>
                  <a:srgbClr val="404040"/>
                </a:solidFill>
                <a:latin typeface="Arial"/>
                <a:cs typeface="Arial"/>
              </a:rPr>
              <a:t>(</a:t>
            </a:r>
            <a:r>
              <a:rPr lang="fr-BE" sz="2400" dirty="0" smtClean="0">
                <a:solidFill>
                  <a:srgbClr val="404040"/>
                </a:solidFill>
                <a:latin typeface="Arial"/>
                <a:cs typeface="Arial"/>
              </a:rPr>
              <a:t>All)</a:t>
            </a:r>
            <a:r>
              <a:rPr sz="2400" dirty="0" smtClean="0">
                <a:solidFill>
                  <a:srgbClr val="404040"/>
                </a:solidFill>
                <a:latin typeface="Arial"/>
                <a:cs typeface="Arial"/>
              </a:rPr>
              <a:t> </a:t>
            </a:r>
            <a:endParaRPr sz="24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6" name="object 126"/>
          <p:cNvSpPr txBox="1"/>
          <p:nvPr/>
        </p:nvSpPr>
        <p:spPr>
          <a:xfrm>
            <a:off x="3966769" y="518891"/>
            <a:ext cx="899871" cy="2473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555"/>
              </a:lnSpc>
              <a:spcBef>
                <a:spcPts val="127"/>
              </a:spcBef>
            </a:pPr>
            <a:endParaRPr sz="24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5" name="object 125"/>
          <p:cNvSpPr txBox="1"/>
          <p:nvPr/>
        </p:nvSpPr>
        <p:spPr>
          <a:xfrm>
            <a:off x="2580260" y="1285709"/>
            <a:ext cx="678045" cy="2096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40"/>
              </a:lnSpc>
              <a:spcBef>
                <a:spcPts val="107"/>
              </a:spcBef>
            </a:pPr>
            <a:r>
              <a:rPr sz="3000" spc="4" baseline="2730" dirty="0" smtClean="0">
                <a:solidFill>
                  <a:prstClr val="black"/>
                </a:solidFill>
                <a:cs typeface="Calibri"/>
              </a:rPr>
              <a:t>D</a:t>
            </a:r>
            <a:r>
              <a:rPr sz="3000" baseline="2730" dirty="0" smtClean="0">
                <a:solidFill>
                  <a:prstClr val="black"/>
                </a:solidFill>
                <a:cs typeface="Calibri"/>
              </a:rPr>
              <a:t>-QIV</a:t>
            </a:r>
            <a:endParaRPr sz="2000">
              <a:solidFill>
                <a:prstClr val="black"/>
              </a:solidFill>
              <a:cs typeface="Calibri"/>
            </a:endParaRPr>
          </a:p>
        </p:txBody>
      </p:sp>
      <p:sp>
        <p:nvSpPr>
          <p:cNvPr id="124" name="object 124"/>
          <p:cNvSpPr txBox="1"/>
          <p:nvPr/>
        </p:nvSpPr>
        <p:spPr>
          <a:xfrm>
            <a:off x="4199002" y="1285709"/>
            <a:ext cx="916067" cy="2096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40"/>
              </a:lnSpc>
              <a:spcBef>
                <a:spcPts val="107"/>
              </a:spcBef>
            </a:pPr>
            <a:r>
              <a:rPr sz="3000" baseline="2730" dirty="0" smtClean="0">
                <a:solidFill>
                  <a:prstClr val="black"/>
                </a:solidFill>
                <a:cs typeface="Calibri"/>
              </a:rPr>
              <a:t>TIV</a:t>
            </a:r>
            <a:r>
              <a:rPr sz="3000" spc="-19" baseline="2730" dirty="0" smtClean="0">
                <a:solidFill>
                  <a:prstClr val="black"/>
                </a:solidFill>
                <a:cs typeface="Calibri"/>
              </a:rPr>
              <a:t> </a:t>
            </a:r>
            <a:r>
              <a:rPr sz="3000" baseline="2730" dirty="0" smtClean="0">
                <a:solidFill>
                  <a:prstClr val="black"/>
                </a:solidFill>
                <a:cs typeface="Calibri"/>
              </a:rPr>
              <a:t>(</a:t>
            </a:r>
            <a:r>
              <a:rPr sz="3000" spc="4" baseline="2730" dirty="0" smtClean="0">
                <a:solidFill>
                  <a:prstClr val="black"/>
                </a:solidFill>
                <a:cs typeface="Calibri"/>
              </a:rPr>
              <a:t>V</a:t>
            </a:r>
            <a:r>
              <a:rPr sz="3000" baseline="2730" dirty="0" smtClean="0">
                <a:solidFill>
                  <a:prstClr val="black"/>
                </a:solidFill>
                <a:cs typeface="Calibri"/>
              </a:rPr>
              <a:t>ic)</a:t>
            </a:r>
            <a:endParaRPr sz="2000">
              <a:solidFill>
                <a:prstClr val="black"/>
              </a:solidFill>
              <a:cs typeface="Calibri"/>
            </a:endParaRPr>
          </a:p>
        </p:txBody>
      </p:sp>
      <p:sp>
        <p:nvSpPr>
          <p:cNvPr id="123" name="object 123"/>
          <p:cNvSpPr txBox="1"/>
          <p:nvPr/>
        </p:nvSpPr>
        <p:spPr>
          <a:xfrm>
            <a:off x="5807202" y="1285709"/>
            <a:ext cx="1037592" cy="2096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2140"/>
              </a:lnSpc>
              <a:spcBef>
                <a:spcPts val="107"/>
              </a:spcBef>
            </a:pPr>
            <a:r>
              <a:rPr sz="3000" baseline="2730" dirty="0" smtClean="0">
                <a:solidFill>
                  <a:prstClr val="black"/>
                </a:solidFill>
                <a:cs typeface="Calibri"/>
              </a:rPr>
              <a:t>TIV</a:t>
            </a:r>
            <a:r>
              <a:rPr sz="3000" spc="-19" baseline="2730" dirty="0" smtClean="0">
                <a:solidFill>
                  <a:prstClr val="black"/>
                </a:solidFill>
                <a:cs typeface="Calibri"/>
              </a:rPr>
              <a:t> </a:t>
            </a:r>
            <a:r>
              <a:rPr sz="3000" baseline="2730" dirty="0" smtClean="0">
                <a:solidFill>
                  <a:prstClr val="black"/>
                </a:solidFill>
                <a:cs typeface="Calibri"/>
              </a:rPr>
              <a:t>(</a:t>
            </a:r>
            <a:r>
              <a:rPr sz="3000" spc="-129" baseline="2730" dirty="0" smtClean="0">
                <a:solidFill>
                  <a:prstClr val="black"/>
                </a:solidFill>
                <a:cs typeface="Calibri"/>
              </a:rPr>
              <a:t>Y</a:t>
            </a:r>
            <a:r>
              <a:rPr sz="3000" baseline="2730" dirty="0" smtClean="0">
                <a:solidFill>
                  <a:prstClr val="black"/>
                </a:solidFill>
                <a:cs typeface="Calibri"/>
              </a:rPr>
              <a:t>am)</a:t>
            </a:r>
            <a:endParaRPr sz="2000">
              <a:solidFill>
                <a:prstClr val="black"/>
              </a:solidFill>
              <a:cs typeface="Calibri"/>
            </a:endParaRPr>
          </a:p>
        </p:txBody>
      </p:sp>
      <p:sp>
        <p:nvSpPr>
          <p:cNvPr id="122" name="object 122"/>
          <p:cNvSpPr txBox="1"/>
          <p:nvPr/>
        </p:nvSpPr>
        <p:spPr>
          <a:xfrm>
            <a:off x="559105" y="1447154"/>
            <a:ext cx="336889" cy="246031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R="936" algn="ctr">
              <a:lnSpc>
                <a:spcPts val="1535"/>
              </a:lnSpc>
              <a:spcBef>
                <a:spcPts val="76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10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pPr marL="86601" marR="22" algn="ctr">
              <a:lnSpc>
                <a:spcPct val="95825"/>
              </a:lnSpc>
              <a:spcBef>
                <a:spcPts val="739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9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pPr marL="86601" marR="22" algn="ctr">
              <a:lnSpc>
                <a:spcPct val="95825"/>
              </a:lnSpc>
              <a:spcBef>
                <a:spcPts val="817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8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pPr marL="86601" marR="22" algn="ctr">
              <a:lnSpc>
                <a:spcPct val="95825"/>
              </a:lnSpc>
              <a:spcBef>
                <a:spcPts val="816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7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pPr marL="86578" algn="ctr">
              <a:lnSpc>
                <a:spcPct val="95825"/>
              </a:lnSpc>
              <a:spcBef>
                <a:spcPts val="814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6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pPr marL="86601" marR="22" algn="ctr">
              <a:lnSpc>
                <a:spcPct val="95825"/>
              </a:lnSpc>
              <a:spcBef>
                <a:spcPts val="817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5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pPr marL="86601" marR="22" algn="ctr">
              <a:lnSpc>
                <a:spcPct val="95825"/>
              </a:lnSpc>
              <a:spcBef>
                <a:spcPts val="816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4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pPr marL="86601" marR="22" algn="ctr">
              <a:lnSpc>
                <a:spcPct val="95825"/>
              </a:lnSpc>
              <a:spcBef>
                <a:spcPts val="816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3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pPr marL="86601" marR="22" algn="ctr">
              <a:lnSpc>
                <a:spcPct val="95825"/>
              </a:lnSpc>
              <a:spcBef>
                <a:spcPts val="817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2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pPr marL="86601" marR="22" algn="ctr">
              <a:lnSpc>
                <a:spcPct val="95825"/>
              </a:lnSpc>
              <a:spcBef>
                <a:spcPts val="816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pPr marL="184746" marR="857" algn="ctr">
              <a:lnSpc>
                <a:spcPct val="95825"/>
              </a:lnSpc>
              <a:spcBef>
                <a:spcPts val="817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0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1" name="object 121"/>
          <p:cNvSpPr txBox="1"/>
          <p:nvPr/>
        </p:nvSpPr>
        <p:spPr>
          <a:xfrm>
            <a:off x="7897114" y="3915844"/>
            <a:ext cx="693876" cy="15256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Grade</a:t>
            </a:r>
            <a:r>
              <a:rPr sz="1400" spc="-1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3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0" name="object 120"/>
          <p:cNvSpPr txBox="1"/>
          <p:nvPr/>
        </p:nvSpPr>
        <p:spPr>
          <a:xfrm>
            <a:off x="6588224" y="4221088"/>
            <a:ext cx="2057400" cy="1380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535"/>
              </a:lnSpc>
              <a:spcBef>
                <a:spcPts val="76"/>
              </a:spcBef>
            </a:pPr>
            <a:r>
              <a:rPr lang="fr-BE" sz="1400" spc="-19" dirty="0" smtClean="0">
                <a:solidFill>
                  <a:prstClr val="black"/>
                </a:solidFill>
                <a:latin typeface="Arial"/>
                <a:cs typeface="Arial"/>
              </a:rPr>
              <a:t>Local  s</a:t>
            </a:r>
            <a:r>
              <a:rPr sz="1400" spc="-19" dirty="0" err="1" smtClean="0">
                <a:solidFill>
                  <a:prstClr val="black"/>
                </a:solidFill>
                <a:latin typeface="Arial"/>
                <a:cs typeface="Arial"/>
              </a:rPr>
              <a:t>y</a:t>
            </a:r>
            <a:r>
              <a:rPr sz="1400" spc="-4" dirty="0" err="1" smtClean="0">
                <a:solidFill>
                  <a:prstClr val="black"/>
                </a:solidFill>
                <a:latin typeface="Arial"/>
                <a:cs typeface="Arial"/>
              </a:rPr>
              <a:t>m</a:t>
            </a:r>
            <a:r>
              <a:rPr sz="1400" dirty="0" err="1" smtClean="0">
                <a:solidFill>
                  <a:prstClr val="black"/>
                </a:solidFill>
                <a:latin typeface="Arial"/>
                <a:cs typeface="Arial"/>
              </a:rPr>
              <a:t>p</a:t>
            </a:r>
            <a:r>
              <a:rPr sz="1400" spc="4" dirty="0" err="1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 err="1" smtClean="0">
                <a:solidFill>
                  <a:prstClr val="black"/>
                </a:solidFill>
                <a:latin typeface="Arial"/>
                <a:cs typeface="Arial"/>
              </a:rPr>
              <a:t>o</a:t>
            </a:r>
            <a:r>
              <a:rPr sz="1400" spc="-4" dirty="0" err="1" smtClean="0">
                <a:solidFill>
                  <a:prstClr val="black"/>
                </a:solidFill>
                <a:latin typeface="Arial"/>
                <a:cs typeface="Arial"/>
              </a:rPr>
              <a:t>m</a:t>
            </a:r>
            <a:r>
              <a:rPr sz="1400" dirty="0" err="1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lang="fr-BE" sz="1400" dirty="0" smtClean="0">
                <a:solidFill>
                  <a:prstClr val="black"/>
                </a:solidFill>
                <a:latin typeface="Arial"/>
                <a:cs typeface="Arial"/>
              </a:rPr>
              <a:t>  </a:t>
            </a:r>
            <a:endParaRPr sz="14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9" name="object 119"/>
          <p:cNvSpPr txBox="1"/>
          <p:nvPr/>
        </p:nvSpPr>
        <p:spPr>
          <a:xfrm>
            <a:off x="53442" y="5008311"/>
            <a:ext cx="7924355" cy="11376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120"/>
              </a:lnSpc>
              <a:spcBef>
                <a:spcPts val="55"/>
              </a:spcBef>
            </a:pP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1.</a:t>
            </a:r>
            <a:r>
              <a:rPr sz="1000" spc="-23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spc="4" dirty="0" smtClean="0">
                <a:solidFill>
                  <a:prstClr val="black"/>
                </a:solidFill>
                <a:latin typeface="Arial"/>
                <a:cs typeface="Arial"/>
              </a:rPr>
              <a:t>(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pt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000" spc="-55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spc="9" dirty="0" smtClean="0">
                <a:solidFill>
                  <a:prstClr val="black"/>
                </a:solidFill>
                <a:latin typeface="Arial"/>
                <a:cs typeface="Arial"/>
              </a:rPr>
              <a:t>f</a:t>
            </a:r>
            <a:r>
              <a:rPr sz="1000" spc="4" dirty="0" smtClean="0">
                <a:solidFill>
                  <a:prstClr val="black"/>
                </a:solidFill>
                <a:latin typeface="Arial"/>
                <a:cs typeface="Arial"/>
              </a:rPr>
              <a:t>r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o</a:t>
            </a:r>
            <a:r>
              <a:rPr sz="1000" spc="25" dirty="0" smtClean="0">
                <a:solidFill>
                  <a:prstClr val="black"/>
                </a:solidFill>
                <a:latin typeface="Arial"/>
                <a:cs typeface="Arial"/>
              </a:rPr>
              <a:t>m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)</a:t>
            </a:r>
            <a:r>
              <a:rPr sz="1000" spc="-43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Ki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ni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n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g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er</a:t>
            </a:r>
            <a:r>
              <a:rPr sz="1000" spc="-27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000" spc="-7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et</a:t>
            </a:r>
            <a:r>
              <a:rPr sz="1000" i="1" spc="-13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1000" i="1" spc="-4" dirty="0" smtClean="0">
                <a:solidFill>
                  <a:prstClr val="black"/>
                </a:solidFill>
                <a:latin typeface="Arial"/>
                <a:cs typeface="Arial"/>
              </a:rPr>
              <a:t>l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.</a:t>
            </a:r>
            <a:r>
              <a:rPr sz="1000" i="1" spc="-10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i="1" spc="-4" dirty="0" smtClean="0">
                <a:solidFill>
                  <a:prstClr val="black"/>
                </a:solidFill>
                <a:latin typeface="Arial"/>
                <a:cs typeface="Arial"/>
              </a:rPr>
              <a:t>B</a:t>
            </a:r>
            <a:r>
              <a:rPr sz="1000" i="1" spc="-14" dirty="0" smtClean="0">
                <a:solidFill>
                  <a:prstClr val="black"/>
                </a:solidFill>
                <a:latin typeface="Arial"/>
                <a:cs typeface="Arial"/>
              </a:rPr>
              <a:t>M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C</a:t>
            </a:r>
            <a:r>
              <a:rPr sz="1000" i="1" spc="2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In</a:t>
            </a:r>
            <a:r>
              <a:rPr sz="1000" i="1" spc="-4" dirty="0" smtClean="0">
                <a:solidFill>
                  <a:prstClr val="black"/>
                </a:solidFill>
                <a:latin typeface="Arial"/>
                <a:cs typeface="Arial"/>
              </a:rPr>
              <a:t>f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1000" i="1" spc="4" dirty="0" smtClean="0">
                <a:solidFill>
                  <a:prstClr val="black"/>
                </a:solidFill>
                <a:latin typeface="Arial"/>
                <a:cs typeface="Arial"/>
              </a:rPr>
              <a:t>c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000" i="1" spc="-3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000" i="1" spc="-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000" i="1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1000" i="1" spc="5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3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;</a:t>
            </a:r>
            <a:r>
              <a:rPr sz="1000" spc="-3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3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:3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4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3;</a:t>
            </a:r>
            <a:r>
              <a:rPr sz="1000" spc="-48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2.</a:t>
            </a:r>
            <a:r>
              <a:rPr sz="1000" spc="-8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spc="4" dirty="0" smtClean="0">
                <a:solidFill>
                  <a:prstClr val="black"/>
                </a:solidFill>
                <a:latin typeface="Arial"/>
                <a:cs typeface="Arial"/>
              </a:rPr>
              <a:t>G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K</a:t>
            </a:r>
            <a:r>
              <a:rPr sz="1000" spc="-25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Data</a:t>
            </a:r>
            <a:r>
              <a:rPr sz="1000" spc="-26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on</a:t>
            </a:r>
            <a:r>
              <a:rPr sz="1000" spc="-25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F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il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e</a:t>
            </a:r>
            <a:r>
              <a:rPr sz="1000" spc="3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3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,</a:t>
            </a:r>
            <a:r>
              <a:rPr sz="1000" spc="-3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C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li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n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000" spc="4" dirty="0" smtClean="0">
                <a:solidFill>
                  <a:prstClr val="black"/>
                </a:solidFill>
                <a:latin typeface="Arial"/>
                <a:cs typeface="Arial"/>
              </a:rPr>
              <a:t>c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al</a:t>
            </a:r>
            <a:r>
              <a:rPr sz="1000" spc="-17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tu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y</a:t>
            </a:r>
            <a:r>
              <a:rPr sz="1000" spc="-20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Rep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o</a:t>
            </a:r>
            <a:r>
              <a:rPr sz="1000" spc="4" dirty="0" smtClean="0">
                <a:solidFill>
                  <a:prstClr val="black"/>
                </a:solidFill>
                <a:latin typeface="Arial"/>
                <a:cs typeface="Arial"/>
              </a:rPr>
              <a:t>r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000" spc="-2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4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2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6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9</a:t>
            </a:r>
            <a:r>
              <a:rPr sz="1000" spc="-48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spc="4" dirty="0" smtClean="0">
                <a:solidFill>
                  <a:prstClr val="black"/>
                </a:solidFill>
                <a:latin typeface="Arial"/>
                <a:cs typeface="Arial"/>
              </a:rPr>
              <a:t>(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FLU</a:t>
            </a:r>
            <a:r>
              <a:rPr sz="1000" spc="-7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D</a:t>
            </a:r>
            <a:r>
              <a:rPr sz="1000" spc="4" dirty="0" smtClean="0">
                <a:solidFill>
                  <a:prstClr val="black"/>
                </a:solidFill>
                <a:latin typeface="Arial"/>
                <a:cs typeface="Arial"/>
              </a:rPr>
              <a:t>-Q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sz="1000" spc="4" dirty="0" smtClean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000" spc="-4" dirty="0" smtClean="0">
                <a:solidFill>
                  <a:prstClr val="black"/>
                </a:solidFill>
                <a:latin typeface="Arial"/>
                <a:cs typeface="Arial"/>
              </a:rPr>
              <a:t>0</a:t>
            </a:r>
            <a:r>
              <a:rPr sz="1000" dirty="0" smtClean="0">
                <a:solidFill>
                  <a:prstClr val="black"/>
                </a:solidFill>
                <a:latin typeface="Arial"/>
                <a:cs typeface="Arial"/>
              </a:rPr>
              <a:t>8).</a:t>
            </a:r>
            <a:endParaRPr sz="10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8" name="object 118"/>
          <p:cNvSpPr txBox="1"/>
          <p:nvPr/>
        </p:nvSpPr>
        <p:spPr>
          <a:xfrm rot="5400000">
            <a:off x="8385669" y="3886732"/>
            <a:ext cx="1293848" cy="1295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>
              <a:lnSpc>
                <a:spcPts val="1019"/>
              </a:lnSpc>
              <a:spcBef>
                <a:spcPts val="51"/>
              </a:spcBef>
            </a:pP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BE/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FL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U/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0013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/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15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(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1</a:t>
            </a:r>
            <a:r>
              <a:rPr sz="900" spc="9" dirty="0" smtClean="0">
                <a:solidFill>
                  <a:prstClr val="black"/>
                </a:solidFill>
                <a:latin typeface="Arial"/>
                <a:cs typeface="Arial"/>
              </a:rPr>
              <a:t>)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900" spc="-4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ugus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900" spc="-1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900" spc="4" dirty="0" smtClean="0">
                <a:solidFill>
                  <a:prstClr val="black"/>
                </a:solidFill>
                <a:latin typeface="Arial"/>
                <a:cs typeface="Arial"/>
              </a:rPr>
              <a:t>201</a:t>
            </a:r>
            <a:r>
              <a:rPr sz="900" dirty="0" smtClean="0">
                <a:solidFill>
                  <a:prstClr val="black"/>
                </a:solidFill>
                <a:latin typeface="Arial"/>
                <a:cs typeface="Arial"/>
              </a:rPr>
              <a:t>5</a:t>
            </a:r>
            <a:endParaRPr sz="9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7" name="object 117"/>
          <p:cNvSpPr txBox="1"/>
          <p:nvPr/>
        </p:nvSpPr>
        <p:spPr>
          <a:xfrm rot="16200000">
            <a:off x="-506564" y="2063356"/>
            <a:ext cx="1656186" cy="64305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56730" marR="71472" algn="ctr">
              <a:lnSpc>
                <a:spcPts val="1535"/>
              </a:lnSpc>
              <a:spcBef>
                <a:spcPts val="76"/>
              </a:spcBef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1400" spc="-19" dirty="0" smtClean="0">
                <a:solidFill>
                  <a:prstClr val="black"/>
                </a:solidFill>
                <a:latin typeface="Arial"/>
                <a:cs typeface="Arial"/>
              </a:rPr>
              <a:t>y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m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p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o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m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endParaRPr sz="1400" dirty="0">
              <a:solidFill>
                <a:prstClr val="black"/>
              </a:solidFill>
              <a:latin typeface="Arial"/>
              <a:cs typeface="Arial"/>
            </a:endParaRPr>
          </a:p>
          <a:p>
            <a:pPr algn="ctr">
              <a:lnSpc>
                <a:spcPct val="95825"/>
              </a:lnSpc>
            </a:pP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(%</a:t>
            </a:r>
            <a:r>
              <a:rPr sz="1400" spc="-1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spc="4" dirty="0" err="1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1400" dirty="0" err="1" smtClean="0">
                <a:solidFill>
                  <a:prstClr val="black"/>
                </a:solidFill>
                <a:latin typeface="Arial"/>
                <a:cs typeface="Arial"/>
              </a:rPr>
              <a:t>uje</a:t>
            </a:r>
            <a:r>
              <a:rPr lang="fr-BE" sz="1400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)</a:t>
            </a:r>
            <a:endParaRPr sz="14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6" name="object 116"/>
          <p:cNvSpPr txBox="1"/>
          <p:nvPr/>
        </p:nvSpPr>
        <p:spPr>
          <a:xfrm>
            <a:off x="5317745" y="3790828"/>
            <a:ext cx="28575" cy="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15" name="object 115"/>
          <p:cNvSpPr txBox="1"/>
          <p:nvPr/>
        </p:nvSpPr>
        <p:spPr>
          <a:xfrm>
            <a:off x="969264" y="1520364"/>
            <a:ext cx="53339" cy="2305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14" name="object 114"/>
          <p:cNvSpPr txBox="1"/>
          <p:nvPr/>
        </p:nvSpPr>
        <p:spPr>
          <a:xfrm>
            <a:off x="1022603" y="1520363"/>
            <a:ext cx="6771132" cy="10453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600"/>
              </a:lnSpc>
              <a:spcBef>
                <a:spcPts val="5"/>
              </a:spcBef>
            </a:pPr>
            <a:endParaRPr sz="600" dirty="0">
              <a:solidFill>
                <a:prstClr val="black"/>
              </a:solidFill>
            </a:endParaRPr>
          </a:p>
          <a:p>
            <a:pPr marL="2645284" marR="2171769" algn="ctr">
              <a:lnSpc>
                <a:spcPct val="95825"/>
              </a:lnSpc>
              <a:spcBef>
                <a:spcPts val="5000"/>
              </a:spcBef>
            </a:pPr>
            <a:r>
              <a:rPr sz="1600" b="1" dirty="0" err="1" smtClean="0">
                <a:solidFill>
                  <a:prstClr val="black"/>
                </a:solidFill>
                <a:latin typeface="Arial"/>
                <a:cs typeface="Arial"/>
              </a:rPr>
              <a:t>Dur</a:t>
            </a:r>
            <a:r>
              <a:rPr lang="fr-BE" sz="1600" b="1" dirty="0" err="1" smtClean="0">
                <a:solidFill>
                  <a:prstClr val="black"/>
                </a:solidFill>
                <a:latin typeface="Arial"/>
                <a:cs typeface="Arial"/>
              </a:rPr>
              <a:t>ant</a:t>
            </a:r>
            <a:r>
              <a:rPr sz="1600" b="1" spc="-46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600" b="1" dirty="0" smtClean="0">
                <a:solidFill>
                  <a:prstClr val="black"/>
                </a:solidFill>
                <a:latin typeface="Arial"/>
                <a:cs typeface="Arial"/>
              </a:rPr>
              <a:t>7</a:t>
            </a:r>
            <a:r>
              <a:rPr sz="1600" b="1" spc="-8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fr-BE" sz="1600" b="1" spc="-8" dirty="0" smtClean="0">
                <a:solidFill>
                  <a:prstClr val="black"/>
                </a:solidFill>
                <a:latin typeface="Arial"/>
                <a:cs typeface="Arial"/>
              </a:rPr>
              <a:t>j</a:t>
            </a:r>
            <a:r>
              <a:rPr sz="1600" b="1" spc="13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600" b="1" dirty="0" smtClean="0">
                <a:solidFill>
                  <a:prstClr val="black"/>
                </a:solidFill>
                <a:latin typeface="Arial"/>
                <a:cs typeface="Arial"/>
              </a:rPr>
              <a:t>p</a:t>
            </a:r>
            <a:r>
              <a:rPr sz="1600" b="1" spc="-4" dirty="0" smtClean="0">
                <a:solidFill>
                  <a:prstClr val="black"/>
                </a:solidFill>
                <a:latin typeface="Arial"/>
                <a:cs typeface="Arial"/>
              </a:rPr>
              <a:t>o</a:t>
            </a:r>
            <a:r>
              <a:rPr sz="1600" b="1" dirty="0" smtClean="0">
                <a:solidFill>
                  <a:prstClr val="black"/>
                </a:solidFill>
                <a:latin typeface="Arial"/>
                <a:cs typeface="Arial"/>
              </a:rPr>
              <a:t>st-</a:t>
            </a:r>
            <a:endParaRPr sz="16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3039633" marR="2565459" algn="ctr">
              <a:lnSpc>
                <a:spcPct val="95825"/>
              </a:lnSpc>
              <a:spcBef>
                <a:spcPts val="80"/>
              </a:spcBef>
            </a:pPr>
            <a:r>
              <a:rPr sz="1600" b="1" spc="-34" dirty="0" smtClean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sz="1600" b="1" dirty="0" smtClean="0">
                <a:solidFill>
                  <a:prstClr val="black"/>
                </a:solidFill>
                <a:latin typeface="Arial"/>
                <a:cs typeface="Arial"/>
              </a:rPr>
              <a:t>acci</a:t>
            </a:r>
            <a:r>
              <a:rPr sz="1600" b="1" spc="-4" dirty="0" smtClean="0">
                <a:solidFill>
                  <a:prstClr val="black"/>
                </a:solidFill>
                <a:latin typeface="Arial"/>
                <a:cs typeface="Arial"/>
              </a:rPr>
              <a:t>n</a:t>
            </a:r>
            <a:r>
              <a:rPr sz="1600" b="1" dirty="0" smtClean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1600" b="1" spc="-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600" b="1" dirty="0" smtClean="0">
                <a:solidFill>
                  <a:prstClr val="black"/>
                </a:solidFill>
                <a:latin typeface="Arial"/>
                <a:cs typeface="Arial"/>
              </a:rPr>
              <a:t>i</a:t>
            </a:r>
            <a:r>
              <a:rPr sz="1600" b="1" spc="-4" dirty="0" smtClean="0">
                <a:solidFill>
                  <a:prstClr val="black"/>
                </a:solidFill>
                <a:latin typeface="Arial"/>
                <a:cs typeface="Arial"/>
              </a:rPr>
              <a:t>o</a:t>
            </a:r>
            <a:r>
              <a:rPr sz="1600" b="1" dirty="0" smtClean="0">
                <a:solidFill>
                  <a:prstClr val="black"/>
                </a:solidFill>
                <a:latin typeface="Arial"/>
                <a:cs typeface="Arial"/>
              </a:rPr>
              <a:t>n</a:t>
            </a:r>
            <a:endParaRPr sz="16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3" name="object 113"/>
          <p:cNvSpPr txBox="1"/>
          <p:nvPr/>
        </p:nvSpPr>
        <p:spPr>
          <a:xfrm>
            <a:off x="7793735" y="1520364"/>
            <a:ext cx="582168" cy="229367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12" name="object 112"/>
          <p:cNvSpPr txBox="1"/>
          <p:nvPr/>
        </p:nvSpPr>
        <p:spPr>
          <a:xfrm>
            <a:off x="969264" y="1750930"/>
            <a:ext cx="53339" cy="2305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11" name="object 111"/>
          <p:cNvSpPr txBox="1"/>
          <p:nvPr/>
        </p:nvSpPr>
        <p:spPr>
          <a:xfrm>
            <a:off x="969264" y="1981496"/>
            <a:ext cx="53339" cy="23170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10" name="object 110"/>
          <p:cNvSpPr txBox="1"/>
          <p:nvPr/>
        </p:nvSpPr>
        <p:spPr>
          <a:xfrm>
            <a:off x="969264" y="2213203"/>
            <a:ext cx="53339" cy="2305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969264" y="2443769"/>
            <a:ext cx="53339" cy="2419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1022603" y="2565710"/>
            <a:ext cx="654812" cy="75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47"/>
              </a:spcBef>
            </a:pPr>
            <a:endParaRPr sz="750">
              <a:solidFill>
                <a:prstClr val="black"/>
              </a:solidFill>
            </a:endParaRPr>
          </a:p>
        </p:txBody>
      </p:sp>
      <p:sp>
        <p:nvSpPr>
          <p:cNvPr id="107" name="object 107"/>
          <p:cNvSpPr txBox="1"/>
          <p:nvPr/>
        </p:nvSpPr>
        <p:spPr>
          <a:xfrm>
            <a:off x="1677417" y="2565710"/>
            <a:ext cx="319785" cy="7588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47"/>
              </a:spcBef>
            </a:pPr>
            <a:endParaRPr sz="750">
              <a:solidFill>
                <a:prstClr val="black"/>
              </a:solidFill>
            </a:endParaRPr>
          </a:p>
        </p:txBody>
      </p:sp>
      <p:sp>
        <p:nvSpPr>
          <p:cNvPr id="106" name="object 106"/>
          <p:cNvSpPr txBox="1"/>
          <p:nvPr/>
        </p:nvSpPr>
        <p:spPr>
          <a:xfrm>
            <a:off x="1022604" y="2641590"/>
            <a:ext cx="363601" cy="4415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1386205" y="2641590"/>
            <a:ext cx="145414" cy="4415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1531620" y="2641591"/>
            <a:ext cx="145796" cy="671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6"/>
              </a:spcBef>
            </a:pPr>
            <a:endParaRPr sz="700">
              <a:solidFill>
                <a:prstClr val="black"/>
              </a:solidFill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1677417" y="2641591"/>
            <a:ext cx="145287" cy="6717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00"/>
              </a:lnSpc>
              <a:spcBef>
                <a:spcPts val="6"/>
              </a:spcBef>
            </a:pPr>
            <a:endParaRPr sz="700">
              <a:solidFill>
                <a:prstClr val="black"/>
              </a:solidFill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1822704" y="2641590"/>
            <a:ext cx="145922" cy="7383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750"/>
              </a:lnSpc>
              <a:spcBef>
                <a:spcPts val="26"/>
              </a:spcBef>
            </a:pPr>
            <a:endParaRPr sz="750">
              <a:solidFill>
                <a:prstClr val="black"/>
              </a:solidFill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1968627" y="2623447"/>
            <a:ext cx="5825108" cy="9197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16"/>
              </a:spcBef>
            </a:pPr>
            <a:endParaRPr sz="950">
              <a:solidFill>
                <a:prstClr val="black"/>
              </a:solidFill>
            </a:endParaRPr>
          </a:p>
        </p:txBody>
      </p:sp>
      <p:sp>
        <p:nvSpPr>
          <p:cNvPr id="100" name="object 100"/>
          <p:cNvSpPr txBox="1"/>
          <p:nvPr/>
        </p:nvSpPr>
        <p:spPr>
          <a:xfrm>
            <a:off x="969264" y="2685749"/>
            <a:ext cx="53339" cy="21915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1022603" y="2685749"/>
            <a:ext cx="217932" cy="114255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8" name="object 98"/>
          <p:cNvSpPr txBox="1"/>
          <p:nvPr/>
        </p:nvSpPr>
        <p:spPr>
          <a:xfrm>
            <a:off x="1240537" y="2685749"/>
            <a:ext cx="145669" cy="414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1386205" y="2685749"/>
            <a:ext cx="145414" cy="4147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6" name="object 96"/>
          <p:cNvSpPr txBox="1"/>
          <p:nvPr/>
        </p:nvSpPr>
        <p:spPr>
          <a:xfrm>
            <a:off x="1240536" y="2727220"/>
            <a:ext cx="291083" cy="110108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5" name="object 95"/>
          <p:cNvSpPr txBox="1"/>
          <p:nvPr/>
        </p:nvSpPr>
        <p:spPr>
          <a:xfrm>
            <a:off x="1531620" y="2708767"/>
            <a:ext cx="291084" cy="11195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1822704" y="2715426"/>
            <a:ext cx="145922" cy="925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23"/>
              </a:spcBef>
            </a:pPr>
            <a:endParaRPr sz="950">
              <a:solidFill>
                <a:prstClr val="black"/>
              </a:solidFill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1968628" y="2715426"/>
            <a:ext cx="145161" cy="9255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23"/>
              </a:spcBef>
            </a:pPr>
            <a:endParaRPr sz="950">
              <a:solidFill>
                <a:prstClr val="black"/>
              </a:solidFill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2113788" y="2715426"/>
            <a:ext cx="5679947" cy="1778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1822705" y="2807975"/>
            <a:ext cx="291083" cy="10203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0" name="object 90"/>
          <p:cNvSpPr txBox="1"/>
          <p:nvPr/>
        </p:nvSpPr>
        <p:spPr>
          <a:xfrm>
            <a:off x="2113788" y="2893296"/>
            <a:ext cx="4834128" cy="346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9" name="object 89"/>
          <p:cNvSpPr txBox="1"/>
          <p:nvPr/>
        </p:nvSpPr>
        <p:spPr>
          <a:xfrm>
            <a:off x="6919341" y="2893296"/>
            <a:ext cx="874394" cy="8624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6"/>
              </a:spcBef>
            </a:pPr>
            <a:endParaRPr sz="900">
              <a:solidFill>
                <a:prstClr val="black"/>
              </a:solidFill>
            </a:endParaRPr>
          </a:p>
        </p:txBody>
      </p:sp>
      <p:sp>
        <p:nvSpPr>
          <p:cNvPr id="88" name="object 88"/>
          <p:cNvSpPr txBox="1"/>
          <p:nvPr/>
        </p:nvSpPr>
        <p:spPr>
          <a:xfrm>
            <a:off x="2113788" y="2927967"/>
            <a:ext cx="2184654" cy="515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42"/>
              </a:spcBef>
            </a:pPr>
            <a:endParaRPr sz="500">
              <a:solidFill>
                <a:prstClr val="black"/>
              </a:solidFill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4298442" y="2927967"/>
            <a:ext cx="2329688" cy="515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42"/>
              </a:spcBef>
            </a:pPr>
            <a:endParaRPr sz="500">
              <a:solidFill>
                <a:prstClr val="black"/>
              </a:solidFill>
            </a:endParaRPr>
          </a:p>
        </p:txBody>
      </p:sp>
      <p:sp>
        <p:nvSpPr>
          <p:cNvPr id="86" name="object 86"/>
          <p:cNvSpPr txBox="1"/>
          <p:nvPr/>
        </p:nvSpPr>
        <p:spPr>
          <a:xfrm>
            <a:off x="6628131" y="2934863"/>
            <a:ext cx="291211" cy="4468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5" name="object 85"/>
          <p:cNvSpPr txBox="1"/>
          <p:nvPr/>
        </p:nvSpPr>
        <p:spPr>
          <a:xfrm>
            <a:off x="969264" y="2904900"/>
            <a:ext cx="53339" cy="2305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4" name="object 84"/>
          <p:cNvSpPr txBox="1"/>
          <p:nvPr/>
        </p:nvSpPr>
        <p:spPr>
          <a:xfrm>
            <a:off x="2113788" y="2979544"/>
            <a:ext cx="1893442" cy="520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47"/>
              </a:spcBef>
            </a:pPr>
            <a:endParaRPr sz="500">
              <a:solidFill>
                <a:prstClr val="black"/>
              </a:solidFill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4007231" y="2979544"/>
            <a:ext cx="145669" cy="520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00"/>
              </a:lnSpc>
              <a:spcBef>
                <a:spcPts val="47"/>
              </a:spcBef>
            </a:pPr>
            <a:endParaRPr sz="500">
              <a:solidFill>
                <a:prstClr val="black"/>
              </a:solidFill>
            </a:endParaRPr>
          </a:p>
        </p:txBody>
      </p:sp>
      <p:sp>
        <p:nvSpPr>
          <p:cNvPr id="82" name="object 82"/>
          <p:cNvSpPr txBox="1"/>
          <p:nvPr/>
        </p:nvSpPr>
        <p:spPr>
          <a:xfrm>
            <a:off x="4152901" y="2979544"/>
            <a:ext cx="145541" cy="7992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40"/>
              </a:spcBef>
            </a:pPr>
            <a:endParaRPr sz="800">
              <a:solidFill>
                <a:prstClr val="black"/>
              </a:solidFill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4298442" y="2979544"/>
            <a:ext cx="145542" cy="7992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40"/>
              </a:spcBef>
            </a:pPr>
            <a:endParaRPr sz="800">
              <a:solidFill>
                <a:prstClr val="black"/>
              </a:solidFill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4443984" y="2979544"/>
            <a:ext cx="145668" cy="794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35"/>
              </a:spcBef>
            </a:pPr>
            <a:endParaRPr sz="800">
              <a:solidFill>
                <a:prstClr val="black"/>
              </a:solidFill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4589654" y="2979544"/>
            <a:ext cx="1893443" cy="7944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35"/>
              </a:spcBef>
            </a:pPr>
            <a:endParaRPr sz="800">
              <a:solidFill>
                <a:prstClr val="black"/>
              </a:solidFill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6483097" y="2979544"/>
            <a:ext cx="145033" cy="337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6628130" y="2979544"/>
            <a:ext cx="146050" cy="3379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6774181" y="2979544"/>
            <a:ext cx="145161" cy="545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23"/>
              </a:spcBef>
            </a:pPr>
            <a:endParaRPr sz="550">
              <a:solidFill>
                <a:prstClr val="black"/>
              </a:solidFill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6919342" y="2979544"/>
            <a:ext cx="145923" cy="5452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550"/>
              </a:lnSpc>
              <a:spcBef>
                <a:spcPts val="23"/>
              </a:spcBef>
            </a:pPr>
            <a:endParaRPr sz="550">
              <a:solidFill>
                <a:prstClr val="black"/>
              </a:solidFill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7065265" y="2979544"/>
            <a:ext cx="728471" cy="2218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7210553" y="2979544"/>
            <a:ext cx="583183" cy="11026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6483097" y="3013335"/>
            <a:ext cx="291083" cy="81496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7065265" y="3001731"/>
            <a:ext cx="145287" cy="8807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5"/>
              </a:spcBef>
            </a:pPr>
            <a:endParaRPr sz="900">
              <a:solidFill>
                <a:prstClr val="black"/>
              </a:solidFill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7210553" y="3001731"/>
            <a:ext cx="583183" cy="8807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5"/>
              </a:spcBef>
            </a:pPr>
            <a:endParaRPr sz="900">
              <a:solidFill>
                <a:prstClr val="black"/>
              </a:solidFill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2113788" y="3031598"/>
            <a:ext cx="2039112" cy="73621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3861816" y="3031597"/>
            <a:ext cx="145414" cy="393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4007231" y="3031597"/>
            <a:ext cx="145669" cy="3937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6774180" y="3034071"/>
            <a:ext cx="291084" cy="7942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3861816" y="3070977"/>
            <a:ext cx="291084" cy="75732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4152900" y="3059466"/>
            <a:ext cx="291084" cy="76883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4443984" y="3058992"/>
            <a:ext cx="145668" cy="881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7"/>
              </a:spcBef>
            </a:pPr>
            <a:endParaRPr sz="900">
              <a:solidFill>
                <a:prstClr val="black"/>
              </a:solidFill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4589653" y="3058992"/>
            <a:ext cx="145414" cy="8817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00"/>
              </a:lnSpc>
              <a:spcBef>
                <a:spcPts val="27"/>
              </a:spcBef>
            </a:pPr>
            <a:endParaRPr sz="900">
              <a:solidFill>
                <a:prstClr val="black"/>
              </a:solidFill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4735068" y="3058991"/>
            <a:ext cx="1748028" cy="69027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7065265" y="3089810"/>
            <a:ext cx="145287" cy="8503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43"/>
              </a:spcBef>
            </a:pPr>
            <a:endParaRPr sz="850">
              <a:solidFill>
                <a:prstClr val="black"/>
              </a:solidFill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7210552" y="3089810"/>
            <a:ext cx="145796" cy="8503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50"/>
              </a:lnSpc>
              <a:spcBef>
                <a:spcPts val="43"/>
              </a:spcBef>
            </a:pPr>
            <a:endParaRPr sz="850">
              <a:solidFill>
                <a:prstClr val="black"/>
              </a:solidFill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7356349" y="3089810"/>
            <a:ext cx="437387" cy="73849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4443985" y="3147166"/>
            <a:ext cx="291083" cy="6811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969264" y="3135466"/>
            <a:ext cx="53339" cy="2305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7065265" y="3174845"/>
            <a:ext cx="291083" cy="65345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969264" y="3366032"/>
            <a:ext cx="53339" cy="23056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969264" y="3596598"/>
            <a:ext cx="53339" cy="23170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2113789" y="3767810"/>
            <a:ext cx="874141" cy="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2551176" y="3767810"/>
            <a:ext cx="291084" cy="604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35"/>
              </a:spcBef>
            </a:pPr>
            <a:endParaRPr sz="600">
              <a:solidFill>
                <a:prstClr val="black"/>
              </a:solidFill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2842261" y="3767810"/>
            <a:ext cx="291083" cy="604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35"/>
              </a:spcBef>
            </a:pPr>
            <a:endParaRPr sz="600">
              <a:solidFill>
                <a:prstClr val="black"/>
              </a:solidFill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2987929" y="3767810"/>
            <a:ext cx="0" cy="207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2113788" y="3735470"/>
            <a:ext cx="437388" cy="9283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950"/>
              </a:lnSpc>
              <a:spcBef>
                <a:spcPts val="25"/>
              </a:spcBef>
            </a:pPr>
            <a:endParaRPr sz="950">
              <a:solidFill>
                <a:prstClr val="black"/>
              </a:solidFill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3279140" y="3735470"/>
            <a:ext cx="582676" cy="3462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4735068" y="3749262"/>
            <a:ext cx="1165098" cy="790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31"/>
              </a:spcBef>
            </a:pPr>
            <a:endParaRPr sz="800">
              <a:solidFill>
                <a:prstClr val="black"/>
              </a:solidFill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5900166" y="3749262"/>
            <a:ext cx="582930" cy="790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800"/>
              </a:lnSpc>
              <a:spcBef>
                <a:spcPts val="31"/>
              </a:spcBef>
            </a:pPr>
            <a:endParaRPr sz="800">
              <a:solidFill>
                <a:prstClr val="black"/>
              </a:solidFill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1022603" y="3828305"/>
            <a:ext cx="6551676" cy="2396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00"/>
              </a:lnSpc>
              <a:spcBef>
                <a:spcPts val="44"/>
              </a:spcBef>
            </a:pPr>
            <a:endParaRPr sz="800" dirty="0">
              <a:solidFill>
                <a:prstClr val="black"/>
              </a:solidFill>
            </a:endParaRPr>
          </a:p>
          <a:p>
            <a:pPr marL="556260">
              <a:lnSpc>
                <a:spcPct val="95825"/>
              </a:lnSpc>
            </a:pPr>
            <a:r>
              <a:rPr lang="fr-BE" sz="1400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                 </a:t>
            </a:r>
            <a:r>
              <a:rPr sz="1400" spc="2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Grade</a:t>
            </a:r>
            <a:r>
              <a:rPr sz="1400" spc="-1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3                 </a:t>
            </a:r>
            <a:r>
              <a:rPr lang="fr-BE" sz="1400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                 </a:t>
            </a:r>
            <a:r>
              <a:rPr sz="1400" spc="2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Grade</a:t>
            </a:r>
            <a:r>
              <a:rPr sz="1400" spc="-14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3                 </a:t>
            </a:r>
            <a:r>
              <a:rPr sz="1400" spc="39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fr-BE" sz="1400" spc="39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endParaRPr sz="14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7574280" y="3814038"/>
            <a:ext cx="335788" cy="25396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7910069" y="3814037"/>
            <a:ext cx="319785" cy="49480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8229855" y="3814037"/>
            <a:ext cx="291211" cy="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8521065" y="3828305"/>
            <a:ext cx="0" cy="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969263" y="3767810"/>
            <a:ext cx="1581912" cy="604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35"/>
              </a:spcBef>
            </a:pPr>
            <a:endParaRPr sz="600">
              <a:solidFill>
                <a:prstClr val="black"/>
              </a:solidFill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2551176" y="3767810"/>
            <a:ext cx="291084" cy="604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35"/>
              </a:spcBef>
            </a:pPr>
            <a:endParaRPr sz="600">
              <a:solidFill>
                <a:prstClr val="black"/>
              </a:solidFill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2842261" y="3767810"/>
            <a:ext cx="291083" cy="604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35"/>
              </a:spcBef>
            </a:pPr>
            <a:endParaRPr sz="600">
              <a:solidFill>
                <a:prstClr val="black"/>
              </a:solidFill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2987929" y="3767810"/>
            <a:ext cx="145414" cy="207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3133345" y="3767810"/>
            <a:ext cx="291083" cy="6049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35"/>
              </a:spcBef>
            </a:pPr>
            <a:endParaRPr sz="600">
              <a:solidFill>
                <a:prstClr val="black"/>
              </a:solidFill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1270000000" y="3828305"/>
            <a:ext cx="0" cy="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8229855" y="3822027"/>
            <a:ext cx="291211" cy="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8521065" y="3822027"/>
            <a:ext cx="363854" cy="342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1270000000" y="3767810"/>
            <a:ext cx="0" cy="207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2987929" y="3770093"/>
            <a:ext cx="145414" cy="1845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133345" y="3770093"/>
            <a:ext cx="291083" cy="582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1"/>
              </a:spcBef>
            </a:pPr>
            <a:endParaRPr sz="600">
              <a:solidFill>
                <a:prstClr val="black"/>
              </a:solidFill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279141" y="3770093"/>
            <a:ext cx="145287" cy="253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3424428" y="3770093"/>
            <a:ext cx="437388" cy="5821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600"/>
              </a:lnSpc>
              <a:spcBef>
                <a:spcPts val="11"/>
              </a:spcBef>
            </a:pPr>
            <a:endParaRPr sz="600">
              <a:solidFill>
                <a:prstClr val="black"/>
              </a:solidFill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969264" y="3828305"/>
            <a:ext cx="53339" cy="4805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1022603" y="3828305"/>
            <a:ext cx="1310640" cy="2396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333244" y="3828305"/>
            <a:ext cx="1310640" cy="2396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643885" y="3828305"/>
            <a:ext cx="1309115" cy="2396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953001" y="3828305"/>
            <a:ext cx="1310639" cy="2396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263641" y="3828305"/>
            <a:ext cx="1310639" cy="2396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574280" y="3828305"/>
            <a:ext cx="335788" cy="23969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7910069" y="3828305"/>
            <a:ext cx="319785" cy="48053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229855" y="3828305"/>
            <a:ext cx="291211" cy="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521065" y="3828305"/>
            <a:ext cx="363854" cy="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022603" y="4068002"/>
            <a:ext cx="2621280" cy="24083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50"/>
              </a:lnSpc>
              <a:spcBef>
                <a:spcPts val="4"/>
              </a:spcBef>
            </a:pPr>
            <a:endParaRPr sz="850" dirty="0">
              <a:solidFill>
                <a:prstClr val="black"/>
              </a:solidFill>
            </a:endParaRPr>
          </a:p>
          <a:p>
            <a:pPr marL="728472">
              <a:lnSpc>
                <a:spcPct val="95825"/>
              </a:lnSpc>
            </a:pPr>
            <a:r>
              <a:rPr lang="fr-BE" sz="1400" dirty="0" smtClean="0">
                <a:solidFill>
                  <a:prstClr val="black"/>
                </a:solidFill>
                <a:latin typeface="Arial"/>
                <a:cs typeface="Arial"/>
              </a:rPr>
              <a:t>All</a:t>
            </a:r>
            <a:r>
              <a:rPr sz="1400" spc="-25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sz="1400" spc="-19" dirty="0" smtClean="0">
                <a:solidFill>
                  <a:prstClr val="black"/>
                </a:solidFill>
                <a:latin typeface="Arial"/>
                <a:cs typeface="Arial"/>
              </a:rPr>
              <a:t>y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m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p</a:t>
            </a:r>
            <a:r>
              <a:rPr sz="1400" spc="4" dirty="0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o</a:t>
            </a:r>
            <a:r>
              <a:rPr sz="1400" spc="-4" dirty="0" smtClean="0">
                <a:solidFill>
                  <a:prstClr val="black"/>
                </a:solidFill>
                <a:latin typeface="Arial"/>
                <a:cs typeface="Arial"/>
              </a:rPr>
              <a:t>m</a:t>
            </a:r>
            <a:r>
              <a:rPr sz="1400" dirty="0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endParaRPr sz="14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643884" y="4068002"/>
            <a:ext cx="2619755" cy="36911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50"/>
              </a:lnSpc>
              <a:spcBef>
                <a:spcPts val="4"/>
              </a:spcBef>
            </a:pPr>
            <a:endParaRPr sz="850" dirty="0">
              <a:solidFill>
                <a:prstClr val="black"/>
              </a:solidFill>
            </a:endParaRPr>
          </a:p>
          <a:p>
            <a:pPr marL="565657">
              <a:lnSpc>
                <a:spcPct val="95825"/>
              </a:lnSpc>
            </a:pPr>
            <a:r>
              <a:rPr lang="fr-BE" sz="1400" spc="-19" dirty="0" err="1" smtClean="0">
                <a:solidFill>
                  <a:prstClr val="black"/>
                </a:solidFill>
                <a:latin typeface="Arial"/>
                <a:cs typeface="Arial"/>
              </a:rPr>
              <a:t>Systemic</a:t>
            </a:r>
            <a:r>
              <a:rPr lang="fr-BE" sz="1400" spc="-19" dirty="0" smtClean="0">
                <a:solidFill>
                  <a:prstClr val="black"/>
                </a:solidFill>
                <a:latin typeface="Arial"/>
                <a:cs typeface="Arial"/>
              </a:rPr>
              <a:t>  s</a:t>
            </a:r>
            <a:r>
              <a:rPr sz="1400" spc="-19" dirty="0" err="1" smtClean="0">
                <a:solidFill>
                  <a:prstClr val="black"/>
                </a:solidFill>
                <a:latin typeface="Arial"/>
                <a:cs typeface="Arial"/>
              </a:rPr>
              <a:t>y</a:t>
            </a:r>
            <a:r>
              <a:rPr sz="1400" spc="-4" dirty="0" err="1" smtClean="0">
                <a:solidFill>
                  <a:prstClr val="black"/>
                </a:solidFill>
                <a:latin typeface="Arial"/>
                <a:cs typeface="Arial"/>
              </a:rPr>
              <a:t>m</a:t>
            </a:r>
            <a:r>
              <a:rPr sz="1400" dirty="0" err="1" smtClean="0">
                <a:solidFill>
                  <a:prstClr val="black"/>
                </a:solidFill>
                <a:latin typeface="Arial"/>
                <a:cs typeface="Arial"/>
              </a:rPr>
              <a:t>p</a:t>
            </a:r>
            <a:r>
              <a:rPr sz="1400" spc="4" dirty="0" err="1" smtClean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400" dirty="0" err="1" smtClean="0">
                <a:solidFill>
                  <a:prstClr val="black"/>
                </a:solidFill>
                <a:latin typeface="Arial"/>
                <a:cs typeface="Arial"/>
              </a:rPr>
              <a:t>o</a:t>
            </a:r>
            <a:r>
              <a:rPr sz="1400" spc="-4" dirty="0" err="1" smtClean="0">
                <a:solidFill>
                  <a:prstClr val="black"/>
                </a:solidFill>
                <a:latin typeface="Arial"/>
                <a:cs typeface="Arial"/>
              </a:rPr>
              <a:t>m</a:t>
            </a:r>
            <a:r>
              <a:rPr sz="1400" dirty="0" err="1" smtClean="0">
                <a:solidFill>
                  <a:prstClr val="black"/>
                </a:solidFill>
                <a:latin typeface="Arial"/>
                <a:cs typeface="Arial"/>
              </a:rPr>
              <a:t>s</a:t>
            </a:r>
            <a:r>
              <a:rPr lang="fr-BE" sz="1400" dirty="0" smtClean="0">
                <a:solidFill>
                  <a:prstClr val="black"/>
                </a:solidFill>
                <a:latin typeface="Arial"/>
                <a:cs typeface="Arial"/>
              </a:rPr>
              <a:t> </a:t>
            </a:r>
            <a:endParaRPr sz="14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263640" y="4068002"/>
            <a:ext cx="1646428" cy="441118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>
              <a:lnSpc>
                <a:spcPts val="850"/>
              </a:lnSpc>
              <a:spcBef>
                <a:spcPts val="4"/>
              </a:spcBef>
            </a:pPr>
            <a:endParaRPr sz="850" dirty="0">
              <a:solidFill>
                <a:prstClr val="black"/>
              </a:solidFill>
            </a:endParaRPr>
          </a:p>
          <a:p>
            <a:pPr marL="670813">
              <a:lnSpc>
                <a:spcPct val="95825"/>
              </a:lnSpc>
            </a:pPr>
            <a:endParaRPr sz="14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576443" y="1314053"/>
            <a:ext cx="180975" cy="1355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942842" y="1309297"/>
            <a:ext cx="179387" cy="13554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2331593" y="1311628"/>
            <a:ext cx="182562" cy="13435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959354" y="3637784"/>
            <a:ext cx="57150" cy="114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580380" y="3658520"/>
            <a:ext cx="57150" cy="114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668143" y="3674690"/>
            <a:ext cx="57150" cy="114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289169" y="3663085"/>
            <a:ext cx="57150" cy="114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959354" y="3683916"/>
            <a:ext cx="57150" cy="114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580380" y="3697708"/>
            <a:ext cx="57150" cy="114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201279" y="3674690"/>
            <a:ext cx="57150" cy="114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201279" y="3709313"/>
            <a:ext cx="57150" cy="114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  <p:sp>
        <p:nvSpPr>
          <p:cNvPr id="2" name="object 2"/>
          <p:cNvSpPr txBox="1"/>
          <p:nvPr/>
        </p:nvSpPr>
        <p:spPr>
          <a:xfrm>
            <a:off x="8492490" y="3690860"/>
            <a:ext cx="57150" cy="114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400">
              <a:lnSpc>
                <a:spcPts val="1000"/>
              </a:lnSpc>
            </a:pPr>
            <a:endParaRPr sz="100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3600" dirty="0" err="1" smtClean="0"/>
              <a:t>Modeling</a:t>
            </a:r>
            <a:r>
              <a:rPr lang="fr-BE" sz="3600" dirty="0" smtClean="0"/>
              <a:t> of public </a:t>
            </a:r>
            <a:r>
              <a:rPr lang="fr-BE" sz="3600" dirty="0" err="1" smtClean="0"/>
              <a:t>health</a:t>
            </a:r>
            <a:r>
              <a:rPr lang="fr-BE" sz="3600" dirty="0" smtClean="0"/>
              <a:t> and </a:t>
            </a:r>
            <a:r>
              <a:rPr lang="fr-BE" sz="3600" dirty="0" err="1" smtClean="0"/>
              <a:t>economic</a:t>
            </a:r>
            <a:r>
              <a:rPr lang="fr-BE" sz="3600" dirty="0" smtClean="0"/>
              <a:t> impact of TIV versus QIV</a:t>
            </a:r>
            <a:endParaRPr lang="fr-BE" sz="36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fr-BE" dirty="0" err="1" smtClean="0"/>
              <a:t>Several</a:t>
            </a:r>
            <a:r>
              <a:rPr lang="fr-BE" dirty="0" smtClean="0"/>
              <a:t> </a:t>
            </a:r>
            <a:r>
              <a:rPr lang="fr-BE" dirty="0" err="1" smtClean="0"/>
              <a:t>models</a:t>
            </a:r>
            <a:r>
              <a:rPr lang="fr-BE" dirty="0" smtClean="0"/>
              <a:t> for</a:t>
            </a:r>
          </a:p>
          <a:p>
            <a:r>
              <a:rPr lang="fr-BE" dirty="0" smtClean="0"/>
              <a:t>USA</a:t>
            </a:r>
          </a:p>
          <a:p>
            <a:r>
              <a:rPr lang="fr-BE" dirty="0" smtClean="0"/>
              <a:t>Canada</a:t>
            </a:r>
          </a:p>
          <a:p>
            <a:r>
              <a:rPr lang="fr-BE" dirty="0" smtClean="0"/>
              <a:t>Europe</a:t>
            </a:r>
          </a:p>
          <a:p>
            <a:r>
              <a:rPr lang="fr-BE" dirty="0" smtClean="0"/>
              <a:t>France</a:t>
            </a:r>
          </a:p>
          <a:p>
            <a:r>
              <a:rPr lang="fr-BE" dirty="0" smtClean="0"/>
              <a:t>UK</a:t>
            </a:r>
          </a:p>
          <a:p>
            <a:r>
              <a:rPr lang="fr-BE" dirty="0" err="1" smtClean="0"/>
              <a:t>Finland</a:t>
            </a:r>
            <a:r>
              <a:rPr lang="fr-BE" dirty="0" smtClean="0"/>
              <a:t>….</a:t>
            </a:r>
          </a:p>
          <a:p>
            <a:pPr>
              <a:buFont typeface="Arial" pitchFamily="34" charset="0"/>
              <a:buChar char="•"/>
            </a:pPr>
            <a:r>
              <a:rPr lang="fr-BE" dirty="0" smtClean="0"/>
              <a:t>   show a positive impact….</a:t>
            </a:r>
            <a:endParaRPr lang="fr-B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36</a:t>
            </a:fld>
            <a:endParaRPr lang="en-GB">
              <a:solidFill>
                <a:srgbClr val="9A8B7D"/>
              </a:solidFill>
            </a:endParaRPr>
          </a:p>
        </p:txBody>
      </p:sp>
      <p:pic>
        <p:nvPicPr>
          <p:cNvPr id="13598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3207" y="2942016"/>
            <a:ext cx="7902054" cy="2796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5987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6855" y="542214"/>
            <a:ext cx="7874758" cy="2105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5911" y="758952"/>
            <a:ext cx="8867104" cy="3566160"/>
          </a:xfrm>
        </p:spPr>
        <p:txBody>
          <a:bodyPr>
            <a:normAutofit/>
          </a:bodyPr>
          <a:lstStyle/>
          <a:p>
            <a:r>
              <a:rPr lang="en-US" sz="5400" b="1" dirty="0" err="1" smtClean="0">
                <a:solidFill>
                  <a:srgbClr val="00A4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iepseizoen</a:t>
            </a:r>
            <a:r>
              <a:rPr lang="en-US" sz="5400" b="1" dirty="0" smtClean="0">
                <a:solidFill>
                  <a:srgbClr val="00A4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6: 					de </a:t>
            </a:r>
            <a:r>
              <a:rPr lang="en-US" sz="5400" b="1" dirty="0" err="1" smtClean="0">
                <a:solidFill>
                  <a:srgbClr val="00A4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lans</a:t>
            </a:r>
            <a:r>
              <a:rPr lang="en-US" sz="54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5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BE" sz="54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on de la grippe 2016 : </a:t>
            </a:r>
            <a:r>
              <a:rPr lang="fr-BE" sz="54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le bilan</a:t>
            </a:r>
            <a:endParaRPr lang="nl-BE" sz="5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413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Rechte verbindingslijn 2"/>
          <p:cNvCxnSpPr/>
          <p:nvPr/>
        </p:nvCxnSpPr>
        <p:spPr>
          <a:xfrm>
            <a:off x="819151" y="1520825"/>
            <a:ext cx="75718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2"/>
          <p:cNvSpPr txBox="1">
            <a:spLocks/>
          </p:cNvSpPr>
          <p:nvPr/>
        </p:nvSpPr>
        <p:spPr>
          <a:xfrm>
            <a:off x="819151" y="204492"/>
            <a:ext cx="7074273" cy="131633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3000" b="1" dirty="0" smtClean="0">
                <a:solidFill>
                  <a:srgbClr val="00A4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izoen 2015 - 2016</a:t>
            </a:r>
            <a:r>
              <a:rPr lang="nl-BE" sz="3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nl-BE" sz="3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l-BE" sz="3000" b="1" dirty="0" err="1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ison</a:t>
            </a:r>
            <a:r>
              <a:rPr lang="nl-BE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5 - 2016</a:t>
            </a:r>
            <a:endParaRPr lang="en-US" sz="3000" b="1" dirty="0" smtClean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38</a:t>
            </a:fld>
            <a:endParaRPr lang="nl-BE"/>
          </a:p>
        </p:txBody>
      </p:sp>
      <p:pic>
        <p:nvPicPr>
          <p:cNvPr id="7" name="Afbeelding 6"/>
          <p:cNvPicPr>
            <a:picLocks noChangeAspect="1"/>
          </p:cNvPicPr>
          <p:nvPr/>
        </p:nvPicPr>
        <p:blipFill rotWithShape="1">
          <a:blip r:embed="rId2" cstate="print"/>
          <a:srcRect l="27062" t="10073" r="43381" b="64559"/>
          <a:stretch/>
        </p:blipFill>
        <p:spPr>
          <a:xfrm>
            <a:off x="5636215" y="2528049"/>
            <a:ext cx="3302426" cy="2124637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 rotWithShape="1">
          <a:blip r:embed="rId2" cstate="print"/>
          <a:srcRect l="27642" t="39054" r="28538" b="16171"/>
          <a:stretch/>
        </p:blipFill>
        <p:spPr>
          <a:xfrm>
            <a:off x="126067" y="1949881"/>
            <a:ext cx="5410760" cy="4144465"/>
          </a:xfrm>
          <a:prstGeom prst="rect">
            <a:avLst/>
          </a:prstGeom>
        </p:spPr>
      </p:pic>
      <p:sp>
        <p:nvSpPr>
          <p:cNvPr id="5" name="Tekstvak 4"/>
          <p:cNvSpPr txBox="1"/>
          <p:nvPr/>
        </p:nvSpPr>
        <p:spPr>
          <a:xfrm>
            <a:off x="6444503" y="5233068"/>
            <a:ext cx="2494139" cy="92333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l-BE" dirty="0" smtClean="0">
                <a:solidFill>
                  <a:prstClr val="black"/>
                </a:solidFill>
              </a:rPr>
              <a:t>Piek in de weken 9 - 10</a:t>
            </a:r>
          </a:p>
          <a:p>
            <a:pPr algn="ctr"/>
            <a:r>
              <a:rPr lang="nl-BE" dirty="0" err="1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Le</a:t>
            </a:r>
            <a:r>
              <a:rPr lang="nl-BE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 </a:t>
            </a:r>
            <a:r>
              <a:rPr lang="nl-BE" dirty="0" err="1" smtClean="0">
                <a:solidFill>
                  <a:srgbClr val="FF0000"/>
                </a:solidFill>
              </a:rPr>
              <a:t>pic</a:t>
            </a:r>
            <a:r>
              <a:rPr lang="nl-BE" dirty="0" err="1" smtClean="0">
                <a:solidFill>
                  <a:srgbClr val="00B0F0"/>
                </a:solidFill>
              </a:rPr>
              <a:t>que</a:t>
            </a:r>
            <a:r>
              <a:rPr lang="nl-BE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 dans les semaines 9 </a:t>
            </a:r>
            <a:r>
              <a:rPr lang="nl-BE" dirty="0">
                <a:solidFill>
                  <a:prstClr val="black">
                    <a:lumMod val="65000"/>
                    <a:lumOff val="35000"/>
                  </a:prstClr>
                </a:solidFill>
              </a:rPr>
              <a:t>- 10</a:t>
            </a:r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cxnSp>
        <p:nvCxnSpPr>
          <p:cNvPr id="11" name="Rechte verbindingslijn met pijl 10"/>
          <p:cNvCxnSpPr>
            <a:stCxn id="5" idx="1"/>
          </p:cNvCxnSpPr>
          <p:nvPr/>
        </p:nvCxnSpPr>
        <p:spPr>
          <a:xfrm flipH="1" flipV="1">
            <a:off x="3449171" y="3886207"/>
            <a:ext cx="2995332" cy="18085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3766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Rechte verbindingslijn 2"/>
          <p:cNvCxnSpPr/>
          <p:nvPr/>
        </p:nvCxnSpPr>
        <p:spPr>
          <a:xfrm>
            <a:off x="683568" y="908720"/>
            <a:ext cx="756084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2"/>
          <p:cNvSpPr txBox="1">
            <a:spLocks/>
          </p:cNvSpPr>
          <p:nvPr/>
        </p:nvSpPr>
        <p:spPr>
          <a:xfrm>
            <a:off x="819151" y="0"/>
            <a:ext cx="7074273" cy="105273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3000" b="1" dirty="0" smtClean="0">
                <a:solidFill>
                  <a:srgbClr val="00A4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antal vaccinaties</a:t>
            </a:r>
            <a:r>
              <a:rPr lang="nl-BE" sz="3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nl-BE" sz="3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30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mbre de </a:t>
            </a:r>
            <a:r>
              <a:rPr lang="fr-FR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ccinations</a:t>
            </a:r>
            <a:endParaRPr lang="en-US" sz="3000" b="1" dirty="0" smtClean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39</a:t>
            </a:fld>
            <a:endParaRPr lang="nl-BE"/>
          </a:p>
        </p:txBody>
      </p:sp>
      <p:sp>
        <p:nvSpPr>
          <p:cNvPr id="6" name="Tekstvak 5"/>
          <p:cNvSpPr txBox="1"/>
          <p:nvPr/>
        </p:nvSpPr>
        <p:spPr>
          <a:xfrm>
            <a:off x="4716016" y="1052736"/>
            <a:ext cx="3729318" cy="5472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white">
                    <a:lumMod val="50000"/>
                  </a:prstClr>
                </a:solidFill>
              </a:rPr>
              <a:t>Le taux de vaccination est resté </a:t>
            </a:r>
            <a:r>
              <a:rPr lang="fr-FR" b="1" dirty="0" smtClean="0">
                <a:solidFill>
                  <a:prstClr val="white">
                    <a:lumMod val="50000"/>
                  </a:prstClr>
                </a:solidFill>
              </a:rPr>
              <a:t>stable</a:t>
            </a:r>
            <a:r>
              <a:rPr lang="fr-FR" dirty="0" smtClean="0">
                <a:solidFill>
                  <a:prstClr val="white">
                    <a:lumMod val="50000"/>
                  </a:prstClr>
                </a:solidFill>
              </a:rPr>
              <a:t> pour la saison 2015-2016 : </a:t>
            </a:r>
            <a:r>
              <a:rPr lang="fr-FR" b="1" dirty="0" smtClean="0">
                <a:solidFill>
                  <a:prstClr val="white">
                    <a:lumMod val="50000"/>
                  </a:prstClr>
                </a:solidFill>
              </a:rPr>
              <a:t>2 à 2,5 millions </a:t>
            </a:r>
            <a:r>
              <a:rPr lang="fr-FR" dirty="0" smtClean="0">
                <a:solidFill>
                  <a:prstClr val="white">
                    <a:lumMod val="50000"/>
                  </a:prstClr>
                </a:solidFill>
              </a:rPr>
              <a:t>de personnes se sont fait vacciner</a:t>
            </a:r>
            <a:endParaRPr lang="fr-FR" dirty="0">
              <a:solidFill>
                <a:prstClr val="white">
                  <a:lumMod val="50000"/>
                </a:prst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 smtClean="0">
                <a:solidFill>
                  <a:prstClr val="white">
                    <a:lumMod val="50000"/>
                  </a:prstClr>
                </a:solidFill>
              </a:rPr>
              <a:t>Le nombre de vaccinations était en baisse depuis 2009 </a:t>
            </a:r>
            <a:r>
              <a:rPr lang="fr-FR" sz="1100" dirty="0" smtClean="0">
                <a:solidFill>
                  <a:prstClr val="white">
                    <a:lumMod val="50000"/>
                  </a:prstClr>
                </a:solidFill>
              </a:rPr>
              <a:t>(KCE). </a:t>
            </a:r>
            <a:endParaRPr lang="fr-FR" sz="1100" dirty="0">
              <a:solidFill>
                <a:prstClr val="white">
                  <a:lumMod val="50000"/>
                </a:prst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solidFill>
                  <a:prstClr val="black">
                    <a:lumMod val="50000"/>
                    <a:lumOff val="50000"/>
                  </a:prstClr>
                </a:solidFill>
              </a:rPr>
              <a:t>La vaccination antigrippale pour les personnes de </a:t>
            </a:r>
            <a:r>
              <a:rPr lang="fr-FR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plus de 65 </a:t>
            </a:r>
            <a:r>
              <a:rPr lang="fr-FR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ans </a:t>
            </a:r>
            <a:r>
              <a:rPr lang="fr-FR" dirty="0">
                <a:solidFill>
                  <a:prstClr val="black">
                    <a:lumMod val="50000"/>
                    <a:lumOff val="50000"/>
                  </a:prstClr>
                </a:solidFill>
              </a:rPr>
              <a:t>a diminué de façon constante au cours des cinq dernières années et </a:t>
            </a:r>
            <a:r>
              <a:rPr lang="fr-FR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a maintenant un taux de couverture de 56% (</a:t>
            </a:r>
            <a:r>
              <a:rPr lang="fr-FR" dirty="0">
                <a:solidFill>
                  <a:prstClr val="black">
                    <a:lumMod val="50000"/>
                    <a:lumOff val="50000"/>
                  </a:prstClr>
                </a:solidFill>
              </a:rPr>
              <a:t>2013). L</a:t>
            </a:r>
            <a:r>
              <a:rPr lang="fr-FR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a </a:t>
            </a:r>
            <a:r>
              <a:rPr lang="fr-FR" dirty="0">
                <a:solidFill>
                  <a:prstClr val="black">
                    <a:lumMod val="50000"/>
                    <a:lumOff val="50000"/>
                  </a:prstClr>
                </a:solidFill>
              </a:rPr>
              <a:t>vaccination des personnes </a:t>
            </a:r>
            <a:r>
              <a:rPr lang="fr-FR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âgées </a:t>
            </a:r>
            <a:r>
              <a:rPr lang="fr-FR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en résidence </a:t>
            </a:r>
            <a:r>
              <a:rPr lang="fr-FR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est à hauteur de </a:t>
            </a:r>
            <a:r>
              <a:rPr lang="fr-FR" dirty="0">
                <a:solidFill>
                  <a:prstClr val="black">
                    <a:lumMod val="50000"/>
                    <a:lumOff val="50000"/>
                  </a:prstClr>
                </a:solidFill>
              </a:rPr>
              <a:t>82,2%. La baisse </a:t>
            </a:r>
            <a:r>
              <a:rPr lang="fr-FR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fut plus </a:t>
            </a:r>
            <a:r>
              <a:rPr lang="fr-FR" dirty="0">
                <a:solidFill>
                  <a:prstClr val="black">
                    <a:lumMod val="50000"/>
                    <a:lumOff val="50000"/>
                  </a:prstClr>
                </a:solidFill>
              </a:rPr>
              <a:t>prononcée en </a:t>
            </a:r>
            <a:r>
              <a:rPr lang="fr-FR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Wallonie et à Bruxelles </a:t>
            </a:r>
            <a:r>
              <a:rPr lang="fr-FR" dirty="0">
                <a:solidFill>
                  <a:prstClr val="black">
                    <a:lumMod val="50000"/>
                    <a:lumOff val="50000"/>
                  </a:prstClr>
                </a:solidFill>
              </a:rPr>
              <a:t>et a également été </a:t>
            </a:r>
            <a:r>
              <a:rPr lang="fr-FR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constatée </a:t>
            </a:r>
            <a:r>
              <a:rPr lang="fr-FR" dirty="0">
                <a:solidFill>
                  <a:prstClr val="black">
                    <a:lumMod val="50000"/>
                    <a:lumOff val="50000"/>
                  </a:prstClr>
                </a:solidFill>
              </a:rPr>
              <a:t>dans d'autres pays européens </a:t>
            </a:r>
            <a:r>
              <a:rPr lang="fr-FR" sz="1100" dirty="0">
                <a:solidFill>
                  <a:prstClr val="black">
                    <a:lumMod val="50000"/>
                    <a:lumOff val="50000"/>
                  </a:prstClr>
                </a:solidFill>
              </a:rPr>
              <a:t>(KCE</a:t>
            </a:r>
            <a:r>
              <a:rPr lang="fr-FR" sz="11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).</a:t>
            </a:r>
            <a:endParaRPr lang="nl-BE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Tekstvak 6"/>
          <p:cNvSpPr txBox="1"/>
          <p:nvPr/>
        </p:nvSpPr>
        <p:spPr>
          <a:xfrm>
            <a:off x="899592" y="980728"/>
            <a:ext cx="3709146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Het </a:t>
            </a:r>
            <a:r>
              <a:rPr lang="nl-BE" dirty="0">
                <a:solidFill>
                  <a:prstClr val="black">
                    <a:lumMod val="50000"/>
                    <a:lumOff val="50000"/>
                  </a:prstClr>
                </a:solidFill>
              </a:rPr>
              <a:t>aantal </a:t>
            </a:r>
            <a:r>
              <a:rPr lang="nl-B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vaccinaties is </a:t>
            </a:r>
            <a:r>
              <a:rPr lang="nl-BE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stabiel </a:t>
            </a:r>
            <a:r>
              <a:rPr lang="nl-B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gebleven in 2015/2016: </a:t>
            </a:r>
            <a:r>
              <a:rPr lang="nl-BE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2 à 2,5 miljoen </a:t>
            </a:r>
            <a:r>
              <a:rPr lang="nl-B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mensen lieten zich vaccine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dirty="0" smtClean="0">
                <a:solidFill>
                  <a:srgbClr val="FF0000"/>
                </a:solidFill>
              </a:rPr>
              <a:t>Het aantal vaccinaties was in dalende lijn sinds 2009 </a:t>
            </a:r>
            <a:r>
              <a:rPr lang="nl-BE" sz="1100" dirty="0" smtClean="0">
                <a:solidFill>
                  <a:srgbClr val="FF0000"/>
                </a:solidFill>
              </a:rPr>
              <a:t>(KCE)</a:t>
            </a:r>
            <a:r>
              <a:rPr lang="nl-BE" dirty="0" smtClean="0">
                <a:solidFill>
                  <a:srgbClr val="FF0000"/>
                </a:solidFill>
              </a:rPr>
              <a:t>.</a:t>
            </a:r>
            <a:endParaRPr lang="nl-BE" dirty="0">
              <a:solidFill>
                <a:prstClr val="black">
                  <a:lumMod val="50000"/>
                  <a:lumOff val="50000"/>
                </a:prst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BE" dirty="0">
                <a:solidFill>
                  <a:prstClr val="black">
                    <a:lumMod val="50000"/>
                    <a:lumOff val="50000"/>
                  </a:prstClr>
                </a:solidFill>
              </a:rPr>
              <a:t>De griepvaccinatie van </a:t>
            </a:r>
            <a:r>
              <a:rPr lang="nl-BE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65-plussers</a:t>
            </a:r>
            <a:r>
              <a:rPr lang="nl-B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nl-BE" dirty="0">
                <a:solidFill>
                  <a:prstClr val="black">
                    <a:lumMod val="50000"/>
                    <a:lumOff val="50000"/>
                  </a:prstClr>
                </a:solidFill>
              </a:rPr>
              <a:t>is de voorbije </a:t>
            </a:r>
            <a:r>
              <a:rPr lang="nl-B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5 jaar constant gedaald </a:t>
            </a:r>
            <a:r>
              <a:rPr lang="nl-BE" dirty="0">
                <a:solidFill>
                  <a:prstClr val="black">
                    <a:lumMod val="50000"/>
                    <a:lumOff val="50000"/>
                  </a:prstClr>
                </a:solidFill>
              </a:rPr>
              <a:t>en </a:t>
            </a:r>
            <a:r>
              <a:rPr lang="nl-B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ligt nu op een </a:t>
            </a:r>
            <a:r>
              <a:rPr lang="nl-BE" dirty="0">
                <a:solidFill>
                  <a:prstClr val="black">
                    <a:lumMod val="50000"/>
                    <a:lumOff val="50000"/>
                  </a:prstClr>
                </a:solidFill>
              </a:rPr>
              <a:t>dekkingsgraad van 56% </a:t>
            </a:r>
            <a:r>
              <a:rPr lang="nl-B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(2013). Een uitzondering </a:t>
            </a:r>
            <a:r>
              <a:rPr lang="nl-BE" dirty="0">
                <a:solidFill>
                  <a:prstClr val="black">
                    <a:lumMod val="50000"/>
                    <a:lumOff val="50000"/>
                  </a:prstClr>
                </a:solidFill>
              </a:rPr>
              <a:t>hierop is de vaccinatie van ouderen in de </a:t>
            </a:r>
            <a:r>
              <a:rPr lang="nl-BE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residentiële </a:t>
            </a:r>
            <a:r>
              <a:rPr lang="nl-BE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sector</a:t>
            </a:r>
            <a:r>
              <a:rPr lang="nl-B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, waar </a:t>
            </a:r>
            <a:r>
              <a:rPr lang="nl-BE" dirty="0">
                <a:solidFill>
                  <a:prstClr val="black">
                    <a:lumMod val="50000"/>
                    <a:lumOff val="50000"/>
                  </a:prstClr>
                </a:solidFill>
              </a:rPr>
              <a:t>de </a:t>
            </a:r>
            <a:r>
              <a:rPr lang="nl-B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dekkingsgraad op 82.2% ligt. De </a:t>
            </a:r>
            <a:r>
              <a:rPr lang="nl-BE" dirty="0">
                <a:solidFill>
                  <a:prstClr val="black">
                    <a:lumMod val="50000"/>
                    <a:lumOff val="50000"/>
                  </a:prstClr>
                </a:solidFill>
              </a:rPr>
              <a:t>daling is meer uitgesproken in </a:t>
            </a:r>
            <a:r>
              <a:rPr lang="nl-BE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Wallonië </a:t>
            </a:r>
            <a:r>
              <a:rPr lang="nl-BE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en Brussel </a:t>
            </a:r>
            <a:r>
              <a:rPr lang="nl-BE" dirty="0">
                <a:solidFill>
                  <a:prstClr val="black">
                    <a:lumMod val="50000"/>
                    <a:lumOff val="50000"/>
                  </a:prstClr>
                </a:solidFill>
              </a:rPr>
              <a:t>en werd ook vastgesteld in andere Europese </a:t>
            </a:r>
            <a:r>
              <a:rPr lang="nl-B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landen </a:t>
            </a:r>
            <a:r>
              <a:rPr lang="nl-BE" sz="1100" dirty="0">
                <a:solidFill>
                  <a:prstClr val="black">
                    <a:lumMod val="50000"/>
                    <a:lumOff val="50000"/>
                  </a:prstClr>
                </a:solidFill>
              </a:rPr>
              <a:t>(KCE</a:t>
            </a:r>
            <a:r>
              <a:rPr lang="nl-BE" sz="11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).</a:t>
            </a:r>
          </a:p>
        </p:txBody>
      </p:sp>
      <p:cxnSp>
        <p:nvCxnSpPr>
          <p:cNvPr id="8" name="Rechte verbindingslijn 7"/>
          <p:cNvCxnSpPr/>
          <p:nvPr/>
        </p:nvCxnSpPr>
        <p:spPr>
          <a:xfrm>
            <a:off x="4608979" y="1828800"/>
            <a:ext cx="0" cy="4134354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6843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3528" y="260648"/>
            <a:ext cx="8373616" cy="720080"/>
          </a:xfrm>
        </p:spPr>
        <p:txBody>
          <a:bodyPr>
            <a:normAutofit/>
          </a:bodyPr>
          <a:lstStyle/>
          <a:p>
            <a:r>
              <a:rPr lang="fr-BE" sz="1800" dirty="0" err="1" smtClean="0"/>
              <a:t>Annual</a:t>
            </a:r>
            <a:r>
              <a:rPr lang="fr-BE" sz="1800" dirty="0" smtClean="0"/>
              <a:t> </a:t>
            </a:r>
            <a:r>
              <a:rPr lang="fr-BE" sz="1800" dirty="0" err="1" smtClean="0"/>
              <a:t>hospitalizations</a:t>
            </a:r>
            <a:r>
              <a:rPr lang="fr-BE" sz="1800" dirty="0" smtClean="0"/>
              <a:t> (</a:t>
            </a:r>
            <a:r>
              <a:rPr lang="fr-BE" sz="1800" dirty="0" err="1" smtClean="0"/>
              <a:t>number</a:t>
            </a:r>
            <a:r>
              <a:rPr lang="fr-BE" sz="1800" dirty="0" smtClean="0"/>
              <a:t> and rate</a:t>
            </a:r>
            <a:r>
              <a:rPr lang="fr-BE" sz="1800" dirty="0" smtClean="0"/>
              <a:t>) </a:t>
            </a:r>
            <a:r>
              <a:rPr lang="fr-BE" sz="1800" dirty="0" err="1" smtClean="0"/>
              <a:t>linked</a:t>
            </a:r>
            <a:r>
              <a:rPr lang="fr-BE" sz="1800" dirty="0" smtClean="0"/>
              <a:t> </a:t>
            </a:r>
            <a:r>
              <a:rPr lang="fr-BE" sz="1800" dirty="0" smtClean="0"/>
              <a:t>to </a:t>
            </a:r>
            <a:r>
              <a:rPr lang="fr-BE" sz="1800" dirty="0" err="1" smtClean="0"/>
              <a:t>seasonal</a:t>
            </a:r>
            <a:r>
              <a:rPr lang="fr-BE" sz="1800" dirty="0" smtClean="0"/>
              <a:t> </a:t>
            </a:r>
            <a:r>
              <a:rPr lang="fr-BE" sz="1800" dirty="0" err="1" smtClean="0"/>
              <a:t>flu</a:t>
            </a:r>
            <a:r>
              <a:rPr lang="fr-BE" sz="1800" dirty="0" smtClean="0"/>
              <a:t>, per groupe </a:t>
            </a:r>
            <a:r>
              <a:rPr lang="fr-BE" sz="1800" dirty="0" err="1" smtClean="0"/>
              <a:t>age</a:t>
            </a:r>
            <a:r>
              <a:rPr lang="fr-BE" sz="1800" dirty="0" smtClean="0"/>
              <a:t> group-</a:t>
            </a:r>
            <a:r>
              <a:rPr lang="fr-BE" sz="1800" b="1" dirty="0" err="1" smtClean="0"/>
              <a:t>Belgium</a:t>
            </a:r>
            <a:r>
              <a:rPr lang="fr-BE" sz="1800" b="1" dirty="0" smtClean="0"/>
              <a:t> </a:t>
            </a:r>
            <a:r>
              <a:rPr lang="fr-BE" sz="1800" dirty="0" smtClean="0"/>
              <a:t>(</a:t>
            </a:r>
            <a:r>
              <a:rPr lang="fr-BE" sz="1800" dirty="0" err="1" smtClean="0"/>
              <a:t>Hanquet</a:t>
            </a:r>
            <a:r>
              <a:rPr lang="fr-BE" sz="1800" dirty="0" smtClean="0"/>
              <a:t> G et al, </a:t>
            </a:r>
            <a:r>
              <a:rPr lang="fr-BE" sz="1800" b="1" dirty="0" smtClean="0"/>
              <a:t>KCE 2013</a:t>
            </a:r>
            <a:r>
              <a:rPr lang="fr-BE" sz="1800" dirty="0" smtClean="0"/>
              <a:t>)</a:t>
            </a:r>
            <a:endParaRPr lang="fr-BE" sz="1800" dirty="0"/>
          </a:p>
        </p:txBody>
      </p:sp>
      <p:graphicFrame>
        <p:nvGraphicFramePr>
          <p:cNvPr id="6" name="Espace réservé du contenu 5"/>
          <p:cNvGraphicFramePr>
            <a:graphicFrameLocks noGrp="1"/>
          </p:cNvGraphicFramePr>
          <p:nvPr>
            <p:ph idx="1"/>
          </p:nvPr>
        </p:nvGraphicFramePr>
        <p:xfrm>
          <a:off x="251520" y="1412778"/>
          <a:ext cx="8229600" cy="37830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/>
                <a:gridCol w="2743200"/>
                <a:gridCol w="2743200"/>
              </a:tblGrid>
              <a:tr h="1187199">
                <a:tc>
                  <a:txBody>
                    <a:bodyPr/>
                    <a:lstStyle/>
                    <a:p>
                      <a:r>
                        <a:rPr lang="fr-BE" sz="1800" dirty="0" smtClean="0"/>
                        <a:t>Groupe d’âge</a:t>
                      </a:r>
                      <a:endParaRPr lang="fr-B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dirty="0" smtClean="0"/>
                        <a:t>Nombre d’hospitalisations </a:t>
                      </a:r>
                    </a:p>
                    <a:p>
                      <a:pPr algn="ctr"/>
                      <a:r>
                        <a:rPr lang="fr-BE" sz="1800" dirty="0" smtClean="0"/>
                        <a:t>(Variation par an)</a:t>
                      </a:r>
                      <a:endParaRPr lang="fr-B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dirty="0" smtClean="0"/>
                        <a:t>Taux</a:t>
                      </a:r>
                      <a:r>
                        <a:rPr lang="fr-BE" sz="1800" baseline="0" dirty="0" smtClean="0"/>
                        <a:t> d’hospitalisation par 100.000 habitants</a:t>
                      </a:r>
                      <a:endParaRPr lang="fr-B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BE" sz="1800" dirty="0" smtClean="0"/>
                        <a:t>&lt;5</a:t>
                      </a:r>
                      <a:r>
                        <a:rPr lang="fr-BE" sz="1800" baseline="0" dirty="0" smtClean="0"/>
                        <a:t> ans</a:t>
                      </a:r>
                      <a:endParaRPr lang="fr-B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b="1" dirty="0" smtClean="0">
                          <a:solidFill>
                            <a:srgbClr val="FF0000"/>
                          </a:solidFill>
                        </a:rPr>
                        <a:t>661 </a:t>
                      </a:r>
                      <a:r>
                        <a:rPr lang="fr-BE" sz="1800" dirty="0" smtClean="0">
                          <a:solidFill>
                            <a:srgbClr val="FF0000"/>
                          </a:solidFill>
                        </a:rPr>
                        <a:t>(</a:t>
                      </a:r>
                      <a:r>
                        <a:rPr lang="fr-BE" sz="1800" dirty="0" smtClean="0"/>
                        <a:t>338-925)</a:t>
                      </a:r>
                      <a:endParaRPr lang="fr-B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b="1" dirty="0" smtClean="0"/>
                        <a:t>113.4</a:t>
                      </a:r>
                      <a:endParaRPr lang="fr-BE" sz="18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BE" sz="1800" dirty="0" smtClean="0"/>
                        <a:t>5-14 ans</a:t>
                      </a:r>
                      <a:endParaRPr lang="fr-B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dirty="0" smtClean="0"/>
                        <a:t>348 (208-489)</a:t>
                      </a:r>
                      <a:endParaRPr lang="fr-B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dirty="0" smtClean="0"/>
                        <a:t>28.7</a:t>
                      </a:r>
                      <a:endParaRPr lang="fr-B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BE" sz="1800" dirty="0" smtClean="0"/>
                        <a:t>15-49 ans</a:t>
                      </a:r>
                      <a:endParaRPr lang="fr-B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dirty="0" smtClean="0"/>
                        <a:t>462 (277-673)</a:t>
                      </a:r>
                      <a:endParaRPr lang="fr-B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dirty="0" smtClean="0"/>
                        <a:t>9.2</a:t>
                      </a:r>
                      <a:endParaRPr lang="fr-B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BE" sz="1800" dirty="0" smtClean="0"/>
                        <a:t>50-64 ans</a:t>
                      </a:r>
                      <a:endParaRPr lang="fr-B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dirty="0" smtClean="0"/>
                        <a:t>356 (198-517)</a:t>
                      </a:r>
                      <a:endParaRPr lang="fr-B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dirty="0" smtClean="0"/>
                        <a:t>18.7</a:t>
                      </a:r>
                      <a:endParaRPr lang="fr-B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BE" sz="1800" dirty="0" smtClean="0"/>
                        <a:t>65-74 ans</a:t>
                      </a:r>
                      <a:endParaRPr lang="fr-B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dirty="0" smtClean="0"/>
                        <a:t>386 (137-785)</a:t>
                      </a:r>
                      <a:endParaRPr lang="fr-B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dirty="0" smtClean="0"/>
                        <a:t>40.8</a:t>
                      </a:r>
                      <a:endParaRPr lang="fr-B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BE" sz="1800" dirty="0" smtClean="0"/>
                        <a:t>75 ans</a:t>
                      </a:r>
                      <a:r>
                        <a:rPr lang="fr-BE" sz="1800" baseline="0" dirty="0" smtClean="0"/>
                        <a:t> +</a:t>
                      </a:r>
                      <a:endParaRPr lang="fr-B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b="1" dirty="0" smtClean="0">
                          <a:solidFill>
                            <a:srgbClr val="FF0000"/>
                          </a:solidFill>
                        </a:rPr>
                        <a:t>1043</a:t>
                      </a:r>
                      <a:r>
                        <a:rPr lang="fr-BE" sz="180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fr-BE" sz="1800" dirty="0" smtClean="0"/>
                        <a:t>(345-2323)</a:t>
                      </a:r>
                      <a:endParaRPr lang="fr-B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b="1" dirty="0" smtClean="0"/>
                        <a:t>121.5</a:t>
                      </a:r>
                      <a:endParaRPr lang="fr-BE" sz="18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fr-BE" sz="1800" dirty="0" smtClean="0"/>
                        <a:t>Total</a:t>
                      </a:r>
                      <a:endParaRPr lang="fr-B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dirty="0" smtClean="0"/>
                        <a:t>3256</a:t>
                      </a:r>
                      <a:endParaRPr lang="fr-B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dirty="0" smtClean="0"/>
                        <a:t>31.0</a:t>
                      </a:r>
                      <a:endParaRPr lang="fr-BE" sz="18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7814"/>
            <a:ext cx="8229600" cy="846930"/>
          </a:xfrm>
        </p:spPr>
        <p:txBody>
          <a:bodyPr/>
          <a:lstStyle/>
          <a:p>
            <a:r>
              <a:rPr lang="fr-BE" dirty="0" smtClean="0"/>
              <a:t>2015-2016</a:t>
            </a:r>
            <a:endParaRPr lang="fr-BE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400599"/>
          </a:xfrm>
        </p:spPr>
        <p:txBody>
          <a:bodyPr/>
          <a:lstStyle/>
          <a:p>
            <a:r>
              <a:rPr lang="fr-BE" dirty="0" smtClean="0"/>
              <a:t>Few H3N2</a:t>
            </a:r>
          </a:p>
          <a:p>
            <a:endParaRPr lang="fr-BE" dirty="0" smtClean="0"/>
          </a:p>
          <a:p>
            <a:r>
              <a:rPr lang="fr-BE" b="1" dirty="0" err="1" smtClean="0">
                <a:solidFill>
                  <a:srgbClr val="FF0000"/>
                </a:solidFill>
              </a:rPr>
              <a:t>Mostly</a:t>
            </a:r>
            <a:r>
              <a:rPr lang="fr-BE" b="1" dirty="0" smtClean="0">
                <a:solidFill>
                  <a:srgbClr val="FF0000"/>
                </a:solidFill>
              </a:rPr>
              <a:t>:</a:t>
            </a:r>
          </a:p>
          <a:p>
            <a:endParaRPr lang="fr-BE" dirty="0" smtClean="0"/>
          </a:p>
          <a:p>
            <a:pPr>
              <a:buFont typeface="Arial" pitchFamily="34" charset="0"/>
              <a:buChar char="•"/>
            </a:pPr>
            <a:r>
              <a:rPr lang="fr-BE" dirty="0" smtClean="0"/>
              <a:t>  H1N1</a:t>
            </a:r>
          </a:p>
          <a:p>
            <a:pPr>
              <a:buFont typeface="Arial" pitchFamily="34" charset="0"/>
              <a:buChar char="•"/>
            </a:pPr>
            <a:endParaRPr lang="fr-BE" dirty="0" smtClean="0"/>
          </a:p>
          <a:p>
            <a:pPr>
              <a:buFont typeface="Arial" pitchFamily="34" charset="0"/>
              <a:buChar char="•"/>
            </a:pPr>
            <a:r>
              <a:rPr lang="fr-BE" dirty="0" smtClean="0"/>
              <a:t>  B,  </a:t>
            </a:r>
            <a:r>
              <a:rPr lang="fr-BE" dirty="0" err="1" smtClean="0"/>
              <a:t>with</a:t>
            </a:r>
            <a:r>
              <a:rPr lang="fr-BE" dirty="0" smtClean="0"/>
              <a:t> Victoria </a:t>
            </a:r>
            <a:r>
              <a:rPr lang="fr-BE" dirty="0" smtClean="0">
                <a:latin typeface="Vrinda"/>
                <a:cs typeface="Vrinda"/>
              </a:rPr>
              <a:t>&gt;&gt; Yamagata</a:t>
            </a:r>
          </a:p>
          <a:p>
            <a:pPr>
              <a:buFont typeface="Arial" pitchFamily="34" charset="0"/>
              <a:buChar char="•"/>
            </a:pPr>
            <a:endParaRPr lang="fr-BE" dirty="0" smtClean="0">
              <a:latin typeface="Vrinda"/>
              <a:cs typeface="Vrinda"/>
            </a:endParaRPr>
          </a:p>
          <a:p>
            <a:pPr>
              <a:buNone/>
            </a:pPr>
            <a:r>
              <a:rPr lang="fr-BE" b="1" dirty="0" smtClean="0">
                <a:latin typeface="Vrinda"/>
                <a:cs typeface="Vrinda"/>
              </a:rPr>
              <a:t>		And</a:t>
            </a:r>
            <a:r>
              <a:rPr lang="fr-BE" dirty="0" smtClean="0">
                <a:latin typeface="Vrinda"/>
                <a:cs typeface="Vrinda"/>
              </a:rPr>
              <a:t> Yamagata in the TIV….</a:t>
            </a:r>
            <a:endParaRPr lang="fr-BE" dirty="0"/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Rechte verbindingslijn 2"/>
          <p:cNvCxnSpPr/>
          <p:nvPr/>
        </p:nvCxnSpPr>
        <p:spPr>
          <a:xfrm>
            <a:off x="837549" y="1520825"/>
            <a:ext cx="75718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2"/>
          <p:cNvSpPr txBox="1">
            <a:spLocks/>
          </p:cNvSpPr>
          <p:nvPr/>
        </p:nvSpPr>
        <p:spPr>
          <a:xfrm>
            <a:off x="819151" y="204490"/>
            <a:ext cx="7074273" cy="131633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3000" b="1" dirty="0" smtClean="0">
                <a:solidFill>
                  <a:srgbClr val="00A4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buurlanden</a:t>
            </a:r>
          </a:p>
          <a:p>
            <a:r>
              <a:rPr lang="fr-FR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</a:t>
            </a:r>
            <a:r>
              <a:rPr lang="fr-FR" sz="30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ys </a:t>
            </a:r>
            <a:r>
              <a:rPr lang="fr-FR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isins en 2014-15</a:t>
            </a:r>
            <a:endParaRPr lang="en-US" sz="3000" b="1" dirty="0" smtClean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41</a:t>
            </a:fld>
            <a:endParaRPr lang="nl-BE"/>
          </a:p>
        </p:txBody>
      </p:sp>
      <p:pic>
        <p:nvPicPr>
          <p:cNvPr id="9" name="Picture 5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07" t="31654" r="19949" b="13226"/>
          <a:stretch/>
        </p:blipFill>
        <p:spPr bwMode="auto">
          <a:xfrm>
            <a:off x="1390729" y="1637833"/>
            <a:ext cx="6034616" cy="4653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07" t="88752" r="57156" b="8954"/>
          <a:stretch/>
        </p:blipFill>
        <p:spPr bwMode="auto">
          <a:xfrm>
            <a:off x="1" y="6018663"/>
            <a:ext cx="3052887" cy="272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7062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Rechte verbindingslijn 2"/>
          <p:cNvCxnSpPr/>
          <p:nvPr/>
        </p:nvCxnSpPr>
        <p:spPr>
          <a:xfrm>
            <a:off x="837549" y="1520825"/>
            <a:ext cx="75718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2"/>
          <p:cNvSpPr txBox="1">
            <a:spLocks/>
          </p:cNvSpPr>
          <p:nvPr/>
        </p:nvSpPr>
        <p:spPr>
          <a:xfrm>
            <a:off x="819151" y="204490"/>
            <a:ext cx="7074273" cy="131633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3000" b="1" dirty="0" smtClean="0">
                <a:solidFill>
                  <a:srgbClr val="00A4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rfte in Europa</a:t>
            </a:r>
            <a:r>
              <a:rPr lang="nl-BE" sz="3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nl-BE" sz="3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30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talité en </a:t>
            </a:r>
            <a:r>
              <a:rPr lang="fr-FR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pe</a:t>
            </a:r>
            <a:endParaRPr lang="en-US" sz="3000" b="1" dirty="0" smtClean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42</a:t>
            </a:fld>
            <a:endParaRPr lang="nl-BE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 rotWithShape="1">
          <a:blip r:embed="rId2" cstate="print"/>
          <a:srcRect l="28159" t="54720" r="17272" b="8265"/>
          <a:stretch/>
        </p:blipFill>
        <p:spPr>
          <a:xfrm>
            <a:off x="1137703" y="2030505"/>
            <a:ext cx="6779651" cy="3447310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6259186" y="5902455"/>
            <a:ext cx="28669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200" i="1" dirty="0">
                <a:solidFill>
                  <a:prstClr val="black"/>
                </a:solidFill>
              </a:rPr>
              <a:t>Bron: </a:t>
            </a:r>
            <a:r>
              <a:rPr lang="nl-BE" sz="1200" i="1" dirty="0">
                <a:solidFill>
                  <a:prstClr val="black"/>
                </a:solidFill>
                <a:hlinkClick r:id="rId3"/>
              </a:rPr>
              <a:t>http://</a:t>
            </a:r>
            <a:r>
              <a:rPr lang="nl-BE" sz="1200" i="1" dirty="0" smtClean="0">
                <a:solidFill>
                  <a:prstClr val="black"/>
                </a:solidFill>
                <a:hlinkClick r:id="rId3"/>
              </a:rPr>
              <a:t>www.euromomo.eu/index.html</a:t>
            </a:r>
            <a:r>
              <a:rPr lang="nl-BE" sz="1200" i="1" dirty="0" smtClean="0">
                <a:solidFill>
                  <a:prstClr val="black"/>
                </a:solidFill>
              </a:rPr>
              <a:t> </a:t>
            </a:r>
            <a:endParaRPr lang="nl-BE" sz="1200" i="1" dirty="0">
              <a:solidFill>
                <a:prstClr val="black"/>
              </a:solidFill>
            </a:endParaRPr>
          </a:p>
        </p:txBody>
      </p:sp>
      <p:cxnSp>
        <p:nvCxnSpPr>
          <p:cNvPr id="8" name="Rechte verbindingslijn met pijl 6"/>
          <p:cNvCxnSpPr/>
          <p:nvPr/>
        </p:nvCxnSpPr>
        <p:spPr>
          <a:xfrm flipH="1">
            <a:off x="7512470" y="2339669"/>
            <a:ext cx="360413" cy="3595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hoek 10"/>
          <p:cNvSpPr/>
          <p:nvPr/>
        </p:nvSpPr>
        <p:spPr>
          <a:xfrm>
            <a:off x="7886646" y="2071652"/>
            <a:ext cx="1141349" cy="663255"/>
          </a:xfrm>
          <a:prstGeom prst="rect">
            <a:avLst/>
          </a:prstGeom>
          <a:noFill/>
          <a:ln>
            <a:solidFill>
              <a:srgbClr val="00A4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872882" y="2071651"/>
            <a:ext cx="115511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BE" sz="14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Laatste seizoen</a:t>
            </a:r>
          </a:p>
          <a:p>
            <a:r>
              <a:rPr lang="nl-BE" sz="1400" dirty="0" err="1" smtClean="0">
                <a:solidFill>
                  <a:srgbClr val="FF0000"/>
                </a:solidFill>
              </a:rPr>
              <a:t>Saison</a:t>
            </a:r>
            <a:r>
              <a:rPr lang="nl-BE" sz="1400" dirty="0" smtClean="0">
                <a:solidFill>
                  <a:srgbClr val="FF0000"/>
                </a:solidFill>
              </a:rPr>
              <a:t> dernière</a:t>
            </a:r>
            <a:endParaRPr lang="nl-BE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40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Rechte verbindingslijn 2"/>
          <p:cNvCxnSpPr/>
          <p:nvPr/>
        </p:nvCxnSpPr>
        <p:spPr>
          <a:xfrm>
            <a:off x="837549" y="1520825"/>
            <a:ext cx="75718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2"/>
          <p:cNvSpPr txBox="1">
            <a:spLocks/>
          </p:cNvSpPr>
          <p:nvPr/>
        </p:nvSpPr>
        <p:spPr>
          <a:xfrm>
            <a:off x="819151" y="204490"/>
            <a:ext cx="7074273" cy="131633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3000" b="1" dirty="0" smtClean="0">
                <a:solidFill>
                  <a:srgbClr val="00A4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rfte: vergelijking België / Frankrijk</a:t>
            </a:r>
            <a:r>
              <a:rPr lang="nl-BE" sz="3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nl-BE" sz="3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30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talité </a:t>
            </a:r>
            <a:r>
              <a:rPr lang="fr-FR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comparaison Belgique / France</a:t>
            </a:r>
            <a:endParaRPr lang="en-US" sz="3000" b="1" dirty="0" smtClean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43</a:t>
            </a:fld>
            <a:endParaRPr lang="nl-BE"/>
          </a:p>
        </p:txBody>
      </p:sp>
      <p:sp>
        <p:nvSpPr>
          <p:cNvPr id="6" name="Tekstvak 5"/>
          <p:cNvSpPr txBox="1"/>
          <p:nvPr/>
        </p:nvSpPr>
        <p:spPr>
          <a:xfrm>
            <a:off x="6928597" y="5987497"/>
            <a:ext cx="24708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200" i="1" dirty="0">
                <a:solidFill>
                  <a:prstClr val="black"/>
                </a:solidFill>
              </a:rPr>
              <a:t>Bron: </a:t>
            </a:r>
            <a:r>
              <a:rPr lang="nl-BE" sz="1200" i="1" dirty="0">
                <a:solidFill>
                  <a:prstClr val="black"/>
                </a:solidFill>
                <a:hlinkClick r:id="rId2"/>
              </a:rPr>
              <a:t>http://</a:t>
            </a:r>
            <a:r>
              <a:rPr lang="nl-BE" sz="1200" i="1" dirty="0" smtClean="0">
                <a:solidFill>
                  <a:prstClr val="black"/>
                </a:solidFill>
                <a:hlinkClick r:id="rId2"/>
              </a:rPr>
              <a:t>www.euromomo.eu/index.html</a:t>
            </a:r>
            <a:r>
              <a:rPr lang="nl-BE" sz="1200" i="1" dirty="0" smtClean="0">
                <a:solidFill>
                  <a:prstClr val="black"/>
                </a:solidFill>
              </a:rPr>
              <a:t> </a:t>
            </a:r>
            <a:endParaRPr lang="nl-BE" sz="1200" i="1" dirty="0">
              <a:solidFill>
                <a:prstClr val="black"/>
              </a:solidFill>
            </a:endParaRPr>
          </a:p>
        </p:txBody>
      </p:sp>
      <p:pic>
        <p:nvPicPr>
          <p:cNvPr id="7" name="Afbeelding 6"/>
          <p:cNvPicPr>
            <a:picLocks noChangeAspect="1"/>
          </p:cNvPicPr>
          <p:nvPr/>
        </p:nvPicPr>
        <p:blipFill rotWithShape="1">
          <a:blip r:embed="rId3" cstate="print"/>
          <a:srcRect l="28039" t="16220" r="18179" b="72867"/>
          <a:stretch/>
        </p:blipFill>
        <p:spPr>
          <a:xfrm>
            <a:off x="307523" y="2348396"/>
            <a:ext cx="7385985" cy="1128415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 rotWithShape="1">
          <a:blip r:embed="rId3" cstate="print"/>
          <a:srcRect l="28039" t="57783" r="18179" b="31994"/>
          <a:stretch/>
        </p:blipFill>
        <p:spPr>
          <a:xfrm>
            <a:off x="329293" y="3679180"/>
            <a:ext cx="7357130" cy="1052973"/>
          </a:xfrm>
          <a:prstGeom prst="rect">
            <a:avLst/>
          </a:prstGeom>
        </p:spPr>
      </p:pic>
      <p:sp>
        <p:nvSpPr>
          <p:cNvPr id="9" name="Tekstvak 8"/>
          <p:cNvSpPr txBox="1"/>
          <p:nvPr/>
        </p:nvSpPr>
        <p:spPr>
          <a:xfrm>
            <a:off x="7893424" y="2513997"/>
            <a:ext cx="816429" cy="1077218"/>
          </a:xfrm>
          <a:prstGeom prst="rect">
            <a:avLst/>
          </a:prstGeom>
          <a:noFill/>
          <a:ln>
            <a:solidFill>
              <a:srgbClr val="00A4DE"/>
            </a:solidFill>
          </a:ln>
        </p:spPr>
        <p:txBody>
          <a:bodyPr wrap="square" rtlCol="0">
            <a:spAutoFit/>
          </a:bodyPr>
          <a:lstStyle/>
          <a:p>
            <a:r>
              <a:rPr lang="nl-BE" sz="16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IV: 46%</a:t>
            </a:r>
          </a:p>
          <a:p>
            <a:r>
              <a:rPr lang="nl-BE" sz="16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QIV: 54%</a:t>
            </a:r>
            <a:endParaRPr lang="nl-BE" sz="16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ekstvak 9"/>
          <p:cNvSpPr txBox="1"/>
          <p:nvPr/>
        </p:nvSpPr>
        <p:spPr>
          <a:xfrm>
            <a:off x="7893424" y="3913277"/>
            <a:ext cx="816429" cy="1077218"/>
          </a:xfrm>
          <a:prstGeom prst="rect">
            <a:avLst/>
          </a:prstGeom>
          <a:noFill/>
          <a:ln>
            <a:solidFill>
              <a:srgbClr val="00A4DE"/>
            </a:solidFill>
          </a:ln>
        </p:spPr>
        <p:txBody>
          <a:bodyPr wrap="square" rtlCol="0">
            <a:spAutoFit/>
          </a:bodyPr>
          <a:lstStyle/>
          <a:p>
            <a:r>
              <a:rPr lang="nl-BE" sz="16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IV: 100%</a:t>
            </a:r>
          </a:p>
          <a:p>
            <a:r>
              <a:rPr lang="nl-BE" sz="16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QIV: 0</a:t>
            </a:r>
            <a:r>
              <a:rPr lang="nl-BE" sz="16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%*</a:t>
            </a:r>
            <a:endParaRPr lang="nl-BE" sz="1600" b="1" dirty="0">
              <a:solidFill>
                <a:srgbClr val="FF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1455" y="5733257"/>
            <a:ext cx="350865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 smtClean="0">
                <a:solidFill>
                  <a:prstClr val="black"/>
                </a:solidFill>
              </a:rPr>
              <a:t>TIV</a:t>
            </a:r>
            <a:r>
              <a:rPr lang="en-GB" sz="1200" dirty="0">
                <a:solidFill>
                  <a:prstClr val="black"/>
                </a:solidFill>
              </a:rPr>
              <a:t>, trivalent inactivated </a:t>
            </a:r>
            <a:r>
              <a:rPr lang="en-GB" sz="1200" dirty="0" smtClean="0">
                <a:solidFill>
                  <a:prstClr val="black"/>
                </a:solidFill>
              </a:rPr>
              <a:t>vaccine; </a:t>
            </a:r>
            <a:r>
              <a:rPr lang="en-GB" sz="1200" dirty="0">
                <a:solidFill>
                  <a:prstClr val="black"/>
                </a:solidFill>
              </a:rPr>
              <a:t>QIV, </a:t>
            </a:r>
            <a:r>
              <a:rPr lang="en-GB" sz="1200" dirty="0" err="1">
                <a:solidFill>
                  <a:prstClr val="black"/>
                </a:solidFill>
              </a:rPr>
              <a:t>quadrivalent</a:t>
            </a:r>
            <a:r>
              <a:rPr lang="en-GB" sz="1200" dirty="0">
                <a:solidFill>
                  <a:prstClr val="black"/>
                </a:solidFill>
              </a:rPr>
              <a:t> </a:t>
            </a:r>
            <a:r>
              <a:rPr lang="en-GB" sz="1200" dirty="0" smtClean="0">
                <a:solidFill>
                  <a:prstClr val="black"/>
                </a:solidFill>
              </a:rPr>
              <a:t>inactivated vaccine </a:t>
            </a:r>
            <a:endParaRPr lang="en-GB" sz="1200" dirty="0">
              <a:solidFill>
                <a:prstClr val="black"/>
              </a:solidFill>
            </a:endParaRPr>
          </a:p>
        </p:txBody>
      </p:sp>
      <p:cxnSp>
        <p:nvCxnSpPr>
          <p:cNvPr id="12" name="Rechte verbindingslijn met pijl 6"/>
          <p:cNvCxnSpPr/>
          <p:nvPr/>
        </p:nvCxnSpPr>
        <p:spPr>
          <a:xfrm flipV="1">
            <a:off x="6283059" y="3086227"/>
            <a:ext cx="1102480" cy="18126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5787250" y="4898896"/>
            <a:ext cx="991621" cy="954107"/>
          </a:xfrm>
          <a:prstGeom prst="rect">
            <a:avLst/>
          </a:prstGeom>
          <a:ln w="6350">
            <a:solidFill>
              <a:srgbClr val="00A4DE"/>
            </a:solidFill>
          </a:ln>
        </p:spPr>
        <p:txBody>
          <a:bodyPr wrap="square">
            <a:spAutoFit/>
          </a:bodyPr>
          <a:lstStyle/>
          <a:p>
            <a:r>
              <a:rPr lang="nl-BE" sz="14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Laatste seizoen</a:t>
            </a:r>
          </a:p>
          <a:p>
            <a:r>
              <a:rPr lang="nl-BE" sz="1400" dirty="0" err="1" smtClean="0">
                <a:solidFill>
                  <a:srgbClr val="FF0000"/>
                </a:solidFill>
              </a:rPr>
              <a:t>Saison</a:t>
            </a:r>
            <a:r>
              <a:rPr lang="nl-BE" sz="1400" dirty="0" smtClean="0">
                <a:solidFill>
                  <a:srgbClr val="FF0000"/>
                </a:solidFill>
              </a:rPr>
              <a:t> dernière</a:t>
            </a:r>
            <a:endParaRPr lang="nl-BE" sz="1400" dirty="0">
              <a:solidFill>
                <a:srgbClr val="FF0000"/>
              </a:solidFill>
            </a:endParaRPr>
          </a:p>
        </p:txBody>
      </p:sp>
      <p:cxnSp>
        <p:nvCxnSpPr>
          <p:cNvPr id="18" name="Rechte verbindingslijn met pijl 6"/>
          <p:cNvCxnSpPr/>
          <p:nvPr/>
        </p:nvCxnSpPr>
        <p:spPr>
          <a:xfrm flipV="1">
            <a:off x="6283059" y="4487249"/>
            <a:ext cx="1102480" cy="4116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/>
          <p:cNvSpPr/>
          <p:nvPr/>
        </p:nvSpPr>
        <p:spPr>
          <a:xfrm>
            <a:off x="360066" y="2229546"/>
            <a:ext cx="800100" cy="44331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26" name="Oval 25"/>
          <p:cNvSpPr/>
          <p:nvPr/>
        </p:nvSpPr>
        <p:spPr>
          <a:xfrm>
            <a:off x="372836" y="3632285"/>
            <a:ext cx="800100" cy="360276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76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Rechte verbindingslijn 2"/>
          <p:cNvCxnSpPr/>
          <p:nvPr/>
        </p:nvCxnSpPr>
        <p:spPr>
          <a:xfrm>
            <a:off x="819151" y="1520825"/>
            <a:ext cx="7571815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2"/>
          <p:cNvSpPr txBox="1">
            <a:spLocks/>
          </p:cNvSpPr>
          <p:nvPr/>
        </p:nvSpPr>
        <p:spPr>
          <a:xfrm>
            <a:off x="819151" y="204492"/>
            <a:ext cx="7954736" cy="131633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BE" sz="3000" b="1" dirty="0" smtClean="0">
                <a:solidFill>
                  <a:srgbClr val="00A4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griepvaccins </a:t>
            </a:r>
            <a:r>
              <a:rPr lang="nl-BE" sz="3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nl-BE" sz="3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l-BE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vaccins </a:t>
            </a:r>
            <a:r>
              <a:rPr lang="nl-BE" sz="3000" b="1" dirty="0" err="1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e</a:t>
            </a:r>
            <a:r>
              <a:rPr lang="nl-BE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nl-BE" sz="3000" b="1" dirty="0" err="1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ippe</a:t>
            </a:r>
            <a:r>
              <a:rPr lang="nl-BE" sz="3000" b="1" dirty="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6-17</a:t>
            </a:r>
            <a:endParaRPr lang="en-US" sz="3000" b="1" dirty="0" smtClean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5E5BD-2EA5-4B9E-9D8C-B5B83A1B0375}" type="slidenum">
              <a:rPr lang="nl-BE" smtClean="0"/>
              <a:pPr/>
              <a:t>44</a:t>
            </a:fld>
            <a:endParaRPr lang="nl-BE"/>
          </a:p>
        </p:txBody>
      </p:sp>
      <p:sp>
        <p:nvSpPr>
          <p:cNvPr id="41" name="Content Placeholder 6"/>
          <p:cNvSpPr txBox="1">
            <a:spLocks/>
          </p:cNvSpPr>
          <p:nvPr/>
        </p:nvSpPr>
        <p:spPr>
          <a:xfrm>
            <a:off x="678257" y="5857565"/>
            <a:ext cx="5867922" cy="5677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sz="1100" baseline="30000" dirty="0" err="1" smtClean="0">
                <a:solidFill>
                  <a:prstClr val="black"/>
                </a:solidFill>
              </a:rPr>
              <a:t>a</a:t>
            </a:r>
            <a:r>
              <a:rPr lang="en-GB" sz="1100" dirty="0" err="1" smtClean="0">
                <a:solidFill>
                  <a:prstClr val="black"/>
                </a:solidFill>
              </a:rPr>
              <a:t>WHO</a:t>
            </a:r>
            <a:r>
              <a:rPr lang="en-GB" sz="1100" dirty="0" smtClean="0">
                <a:solidFill>
                  <a:prstClr val="black"/>
                </a:solidFill>
              </a:rPr>
              <a:t> 2016–2017 recommendations for the Northern </a:t>
            </a:r>
            <a:r>
              <a:rPr lang="en-GB" sz="1100" dirty="0">
                <a:solidFill>
                  <a:prstClr val="black"/>
                </a:solidFill>
              </a:rPr>
              <a:t>Hemisphere; WHO, World Health </a:t>
            </a:r>
            <a:r>
              <a:rPr lang="en-GB" sz="1100" dirty="0" smtClean="0">
                <a:solidFill>
                  <a:prstClr val="black"/>
                </a:solidFill>
              </a:rPr>
              <a:t>Organization</a:t>
            </a:r>
          </a:p>
          <a:p>
            <a:pPr>
              <a:spcBef>
                <a:spcPts val="0"/>
              </a:spcBef>
            </a:pPr>
            <a:r>
              <a:rPr lang="en-GB" sz="1100" dirty="0" smtClean="0">
                <a:solidFill>
                  <a:prstClr val="black"/>
                </a:solidFill>
              </a:rPr>
              <a:t>TIV, trivalent inactivated vaccine; </a:t>
            </a:r>
            <a:r>
              <a:rPr lang="en-GB" sz="1100" dirty="0">
                <a:solidFill>
                  <a:prstClr val="black"/>
                </a:solidFill>
              </a:rPr>
              <a:t>QIV, </a:t>
            </a:r>
            <a:r>
              <a:rPr lang="en-GB" sz="1100" dirty="0" err="1">
                <a:solidFill>
                  <a:prstClr val="black"/>
                </a:solidFill>
              </a:rPr>
              <a:t>quadrivalent</a:t>
            </a:r>
            <a:r>
              <a:rPr lang="en-GB" sz="1100" dirty="0">
                <a:solidFill>
                  <a:prstClr val="black"/>
                </a:solidFill>
              </a:rPr>
              <a:t> inactivated </a:t>
            </a:r>
            <a:r>
              <a:rPr lang="en-GB" sz="1100" dirty="0" smtClean="0">
                <a:solidFill>
                  <a:prstClr val="black"/>
                </a:solidFill>
              </a:rPr>
              <a:t>vaccine</a:t>
            </a:r>
          </a:p>
        </p:txBody>
      </p:sp>
      <p:sp>
        <p:nvSpPr>
          <p:cNvPr id="43" name="Rounded Rectangle 11"/>
          <p:cNvSpPr/>
          <p:nvPr/>
        </p:nvSpPr>
        <p:spPr>
          <a:xfrm>
            <a:off x="5292080" y="1700808"/>
            <a:ext cx="3851920" cy="4151769"/>
          </a:xfrm>
          <a:prstGeom prst="roundRect">
            <a:avLst/>
          </a:prstGeom>
          <a:solidFill>
            <a:srgbClr val="289FD4"/>
          </a:solidFill>
          <a:ln>
            <a:solidFill>
              <a:srgbClr val="289FD4"/>
            </a:solidFill>
          </a:ln>
        </p:spPr>
        <p:txBody>
          <a:bodyPr wrap="square" anchor="ctr">
            <a:spAutoFit/>
          </a:bodyPr>
          <a:lstStyle/>
          <a:p>
            <a:pPr algn="ctr"/>
            <a:r>
              <a:rPr lang="nl-BE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en </a:t>
            </a:r>
            <a:r>
              <a:rPr lang="nl-BE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</a:t>
            </a:r>
            <a:r>
              <a:rPr lang="nl-BE" sz="16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orkeursaanbeveling </a:t>
            </a:r>
            <a:r>
              <a:rPr lang="nl-BE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or het gebruik van TIV of </a:t>
            </a:r>
            <a:r>
              <a:rPr lang="nl-BE" sz="16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IV.</a:t>
            </a:r>
          </a:p>
          <a:p>
            <a:pPr algn="ctr"/>
            <a:r>
              <a:rPr lang="nl-BE" sz="16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ar </a:t>
            </a:r>
            <a:r>
              <a:rPr lang="nl-BE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k jaar </a:t>
            </a:r>
            <a:r>
              <a:rPr lang="nl-BE" sz="16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dt een </a:t>
            </a:r>
            <a:r>
              <a:rPr lang="nl-BE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euwe compositie </a:t>
            </a:r>
            <a:r>
              <a:rPr lang="nl-BE" sz="16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anbevolen </a:t>
            </a:r>
            <a:r>
              <a:rPr lang="nl-BE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or </a:t>
            </a:r>
            <a:r>
              <a:rPr lang="nl-BE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nl-BE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mmen ter productie </a:t>
            </a:r>
            <a:r>
              <a:rPr lang="nl-BE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n </a:t>
            </a:r>
            <a:r>
              <a:rPr lang="nl-BE" sz="16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V en QIVs</a:t>
            </a:r>
            <a:r>
              <a:rPr lang="nl-BE" sz="1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fr-FR" sz="1600" b="1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sz="1600" b="1" dirty="0" smtClean="0">
              <a:solidFill>
                <a:srgbClr val="344068">
                  <a:lumMod val="20000"/>
                  <a:lumOff val="8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600" b="1" dirty="0" smtClean="0">
                <a:solidFill>
                  <a:srgbClr val="344068">
                    <a:lumMod val="20000"/>
                    <a:lumOff val="8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cune </a:t>
            </a:r>
            <a:r>
              <a:rPr lang="fr-FR" sz="1600" b="1" dirty="0">
                <a:solidFill>
                  <a:srgbClr val="344068">
                    <a:lumMod val="20000"/>
                    <a:lumOff val="8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andation préférentielle </a:t>
            </a:r>
            <a:r>
              <a:rPr lang="fr-FR" sz="1600" b="1" dirty="0" smtClean="0">
                <a:solidFill>
                  <a:srgbClr val="344068">
                    <a:lumMod val="20000"/>
                    <a:lumOff val="8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</a:t>
            </a:r>
            <a:r>
              <a:rPr lang="fr-FR" sz="1600" b="1" dirty="0" smtClean="0">
                <a:solidFill>
                  <a:srgbClr val="344068">
                    <a:lumMod val="20000"/>
                    <a:lumOff val="8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ur l'utilisation de TIV ou QIV.</a:t>
            </a:r>
          </a:p>
          <a:p>
            <a:pPr algn="ctr"/>
            <a:r>
              <a:rPr lang="fr-FR" sz="1600" b="1" dirty="0" smtClean="0">
                <a:solidFill>
                  <a:srgbClr val="344068">
                    <a:lumMod val="20000"/>
                    <a:lumOff val="8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s il y a chaque année une </a:t>
            </a:r>
            <a:r>
              <a:rPr lang="fr-FR" sz="1600" b="1" dirty="0">
                <a:solidFill>
                  <a:srgbClr val="344068">
                    <a:lumMod val="20000"/>
                    <a:lumOff val="8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uvelle recommandation de la composition pour </a:t>
            </a:r>
            <a:r>
              <a:rPr lang="fr-FR" sz="16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</a:t>
            </a:r>
            <a:r>
              <a:rPr lang="fr-FR" sz="1600" b="1" dirty="0" err="1" smtClean="0">
                <a:solidFill>
                  <a:srgbClr val="1CADE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</a:t>
            </a:r>
            <a:r>
              <a:rPr lang="fr-FR" sz="1600" b="1" dirty="0" smtClean="0">
                <a:solidFill>
                  <a:srgbClr val="344068">
                    <a:lumMod val="20000"/>
                    <a:lumOff val="8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uche</a:t>
            </a:r>
            <a:r>
              <a:rPr lang="fr-FR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fr-FR" sz="1600" b="1" dirty="0" smtClean="0">
                <a:solidFill>
                  <a:srgbClr val="344068">
                    <a:lumMod val="20000"/>
                    <a:lumOff val="8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b="1" dirty="0">
                <a:solidFill>
                  <a:srgbClr val="344068">
                    <a:lumMod val="20000"/>
                    <a:lumOff val="8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à utiliser lors de la production de </a:t>
            </a:r>
            <a:r>
              <a:rPr lang="fr-FR" sz="1600" b="1" dirty="0" smtClean="0">
                <a:solidFill>
                  <a:srgbClr val="344068">
                    <a:lumMod val="20000"/>
                    <a:lumOff val="8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V et QIV.</a:t>
            </a:r>
            <a:endParaRPr lang="en-GB" sz="1600" b="1" dirty="0" smtClean="0">
              <a:solidFill>
                <a:srgbClr val="344068">
                  <a:lumMod val="20000"/>
                  <a:lumOff val="8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12"/>
          <p:cNvGrpSpPr/>
          <p:nvPr/>
        </p:nvGrpSpPr>
        <p:grpSpPr>
          <a:xfrm>
            <a:off x="980981" y="2161664"/>
            <a:ext cx="3471937" cy="1941542"/>
            <a:chOff x="1538495" y="2692618"/>
            <a:chExt cx="4705152" cy="1941542"/>
          </a:xfrm>
        </p:grpSpPr>
        <p:sp>
          <p:nvSpPr>
            <p:cNvPr id="50" name="TextBox 13"/>
            <p:cNvSpPr txBox="1"/>
            <p:nvPr/>
          </p:nvSpPr>
          <p:spPr>
            <a:xfrm>
              <a:off x="2526533" y="2692618"/>
              <a:ext cx="3634792" cy="822305"/>
            </a:xfrm>
            <a:prstGeom prst="ellipse">
              <a:avLst/>
            </a:prstGeom>
            <a:solidFill>
              <a:srgbClr val="289FD4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GB" sz="16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/H1N1/California</a:t>
              </a:r>
              <a:endParaRPr lang="en-GB" sz="1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TextBox 14"/>
            <p:cNvSpPr txBox="1"/>
            <p:nvPr/>
          </p:nvSpPr>
          <p:spPr>
            <a:xfrm>
              <a:off x="2726670" y="3285979"/>
              <a:ext cx="3336343" cy="822305"/>
            </a:xfrm>
            <a:prstGeom prst="ellipse">
              <a:avLst/>
            </a:prstGeom>
            <a:solidFill>
              <a:srgbClr val="289FD4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GB" sz="16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/H3N2/Hong Kong</a:t>
              </a:r>
              <a:endParaRPr lang="en-GB" sz="1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TextBox 15"/>
            <p:cNvSpPr txBox="1"/>
            <p:nvPr/>
          </p:nvSpPr>
          <p:spPr>
            <a:xfrm>
              <a:off x="2526533" y="4158089"/>
              <a:ext cx="3717114" cy="476071"/>
            </a:xfrm>
            <a:prstGeom prst="ellipse">
              <a:avLst/>
            </a:prstGeom>
            <a:solidFill>
              <a:srgbClr val="289FD4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GB" sz="16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/Brisbane</a:t>
              </a:r>
              <a:endParaRPr lang="en-GB" b="1" baseline="30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6" name="Group 16"/>
            <p:cNvGrpSpPr/>
            <p:nvPr/>
          </p:nvGrpSpPr>
          <p:grpSpPr>
            <a:xfrm>
              <a:off x="1538495" y="3162934"/>
              <a:ext cx="1086350" cy="1068397"/>
              <a:chOff x="1382538" y="2620537"/>
              <a:chExt cx="930640" cy="925200"/>
            </a:xfrm>
          </p:grpSpPr>
          <p:pic>
            <p:nvPicPr>
              <p:cNvPr id="57" name="Picture 17" descr="inject.png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82538" y="2620537"/>
                <a:ext cx="925200" cy="925200"/>
              </a:xfrm>
              <a:prstGeom prst="rect">
                <a:avLst/>
              </a:prstGeom>
            </p:spPr>
          </p:pic>
          <p:sp>
            <p:nvSpPr>
              <p:cNvPr id="60" name="TextBox 18"/>
              <p:cNvSpPr txBox="1"/>
              <p:nvPr/>
            </p:nvSpPr>
            <p:spPr>
              <a:xfrm>
                <a:off x="1387978" y="2639992"/>
                <a:ext cx="925200" cy="862006"/>
              </a:xfrm>
              <a:prstGeom prst="ellipse">
                <a:avLst/>
              </a:prstGeom>
              <a:solidFill>
                <a:srgbClr val="F8F8F8">
                  <a:alpha val="60000"/>
                </a:srgbClr>
              </a:solidFill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GB" sz="2000" b="1" dirty="0" smtClean="0">
                    <a:solidFill>
                      <a:srgbClr val="5951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IV</a:t>
                </a:r>
                <a:endParaRPr lang="en-GB" sz="2000" b="1" dirty="0">
                  <a:solidFill>
                    <a:srgbClr val="59515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7" name="Group 19"/>
          <p:cNvGrpSpPr/>
          <p:nvPr/>
        </p:nvGrpSpPr>
        <p:grpSpPr>
          <a:xfrm>
            <a:off x="961093" y="4010942"/>
            <a:ext cx="3491825" cy="1097383"/>
            <a:chOff x="-19346" y="4468529"/>
            <a:chExt cx="4726066" cy="1001103"/>
          </a:xfrm>
        </p:grpSpPr>
        <p:sp>
          <p:nvSpPr>
            <p:cNvPr id="63" name="TextBox 20"/>
            <p:cNvSpPr txBox="1"/>
            <p:nvPr/>
          </p:nvSpPr>
          <p:spPr>
            <a:xfrm>
              <a:off x="1129078" y="4786329"/>
              <a:ext cx="3577642" cy="432792"/>
            </a:xfrm>
            <a:prstGeom prst="ellipse">
              <a:avLst/>
            </a:prstGeom>
            <a:solidFill>
              <a:srgbClr val="00A4DE"/>
            </a:solidFill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GB" sz="16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/Phuket</a:t>
              </a:r>
              <a:r>
                <a:rPr lang="en-GB" sz="14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n-GB" sz="1600" b="1" baseline="30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8" name="Group 24"/>
            <p:cNvGrpSpPr/>
            <p:nvPr/>
          </p:nvGrpSpPr>
          <p:grpSpPr>
            <a:xfrm>
              <a:off x="-19346" y="4468529"/>
              <a:ext cx="1080001" cy="1001103"/>
              <a:chOff x="-2917588" y="3709957"/>
              <a:chExt cx="925200" cy="866925"/>
            </a:xfrm>
          </p:grpSpPr>
          <p:pic>
            <p:nvPicPr>
              <p:cNvPr id="68" name="Picture 25" descr="inject.png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2864410" y="3709957"/>
                <a:ext cx="866925" cy="866925"/>
              </a:xfrm>
              <a:prstGeom prst="rect">
                <a:avLst/>
              </a:prstGeom>
            </p:spPr>
          </p:pic>
          <p:sp>
            <p:nvSpPr>
              <p:cNvPr id="69" name="TextBox 26"/>
              <p:cNvSpPr txBox="1"/>
              <p:nvPr/>
            </p:nvSpPr>
            <p:spPr>
              <a:xfrm>
                <a:off x="-2917588" y="3779366"/>
                <a:ext cx="925200" cy="786377"/>
              </a:xfrm>
              <a:prstGeom prst="ellipse">
                <a:avLst/>
              </a:prstGeom>
              <a:solidFill>
                <a:srgbClr val="F8F8F8">
                  <a:alpha val="60000"/>
                </a:srgbClr>
              </a:solidFill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GB" sz="2000" b="1" dirty="0">
                    <a:solidFill>
                      <a:srgbClr val="5951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Q</a:t>
                </a:r>
                <a:r>
                  <a:rPr lang="en-GB" sz="2000" b="1" dirty="0" smtClean="0">
                    <a:solidFill>
                      <a:srgbClr val="5951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V</a:t>
                </a:r>
                <a:endParaRPr lang="en-GB" sz="2000" b="1" dirty="0">
                  <a:solidFill>
                    <a:srgbClr val="59515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70" name="Content Placeholder 4"/>
          <p:cNvSpPr txBox="1">
            <a:spLocks/>
          </p:cNvSpPr>
          <p:nvPr/>
        </p:nvSpPr>
        <p:spPr>
          <a:xfrm>
            <a:off x="819151" y="1725690"/>
            <a:ext cx="5727029" cy="44039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nl-BE" sz="2000" b="1" dirty="0" smtClean="0">
                <a:solidFill>
                  <a:srgbClr val="FF0000"/>
                </a:solidFill>
              </a:rPr>
              <a:t>WHO </a:t>
            </a:r>
            <a:r>
              <a:rPr lang="nl-BE" sz="2000" b="1" dirty="0" err="1" smtClean="0">
                <a:solidFill>
                  <a:srgbClr val="FF0000"/>
                </a:solidFill>
              </a:rPr>
              <a:t>Recommendation</a:t>
            </a:r>
            <a:r>
              <a:rPr lang="nl-BE" sz="2000" b="1" dirty="0" smtClean="0">
                <a:solidFill>
                  <a:srgbClr val="FF0000"/>
                </a:solidFill>
              </a:rPr>
              <a:t> </a:t>
            </a:r>
            <a:r>
              <a:rPr lang="nl-BE" sz="2000" b="1" dirty="0" err="1" smtClean="0">
                <a:solidFill>
                  <a:srgbClr val="FF0000"/>
                </a:solidFill>
              </a:rPr>
              <a:t>for</a:t>
            </a:r>
            <a:r>
              <a:rPr lang="nl-BE" sz="2000" b="1" dirty="0" smtClean="0">
                <a:solidFill>
                  <a:srgbClr val="FF0000"/>
                </a:solidFill>
              </a:rPr>
              <a:t> NH </a:t>
            </a:r>
            <a:r>
              <a:rPr lang="nl-BE" sz="2000" b="1" dirty="0" err="1" smtClean="0">
                <a:solidFill>
                  <a:srgbClr val="FF0000"/>
                </a:solidFill>
              </a:rPr>
              <a:t>season</a:t>
            </a:r>
            <a:r>
              <a:rPr lang="nl-BE" sz="2000" b="1" dirty="0" smtClean="0">
                <a:solidFill>
                  <a:srgbClr val="FF0000"/>
                </a:solidFill>
              </a:rPr>
              <a:t> 2016-2017*:</a:t>
            </a:r>
            <a:endParaRPr lang="en-GB" sz="2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772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fr-BE" dirty="0" err="1" smtClean="0"/>
              <a:t>Leading</a:t>
            </a:r>
            <a:r>
              <a:rPr lang="fr-BE" dirty="0" smtClean="0"/>
              <a:t> to the 2016-17 HCH </a:t>
            </a:r>
            <a:r>
              <a:rPr lang="fr-BE" dirty="0" err="1" smtClean="0"/>
              <a:t>recommendations</a:t>
            </a:r>
            <a:r>
              <a:rPr lang="fr-BE" dirty="0" smtClean="0"/>
              <a:t>….</a:t>
            </a:r>
            <a:endParaRPr lang="fr-BE" dirty="0"/>
          </a:p>
        </p:txBody>
      </p:sp>
      <p:sp>
        <p:nvSpPr>
          <p:cNvPr id="3" name="Sous-titre 2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fr-BE"/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/>
          <a:srcRect l="33878" t="16360" r="35117" b="46084"/>
          <a:stretch/>
        </p:blipFill>
        <p:spPr>
          <a:xfrm>
            <a:off x="1187624" y="202655"/>
            <a:ext cx="6768752" cy="239486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869311" y="2748670"/>
            <a:ext cx="740537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fr-BE" sz="1600" b="0" i="0" u="none" strike="noStrike" baseline="0" dirty="0" smtClean="0"/>
              <a:t>La saison grippale 2015-2016, </a:t>
            </a:r>
            <a:r>
              <a:rPr lang="fr-BE" sz="1600" b="0" i="0" u="none" strike="noStrike" baseline="0" dirty="0" smtClean="0">
                <a:solidFill>
                  <a:schemeClr val="tx2"/>
                </a:solidFill>
              </a:rPr>
              <a:t>malgré une inadéquation du choix de la souche B dans le vaccin trivalent concomitante à une prévalence importante de cette souche (50 % des cas avérés de grippe</a:t>
            </a:r>
            <a:r>
              <a:rPr lang="fr-BE" sz="1600" b="0" i="0" u="none" strike="noStrike" baseline="0" dirty="0" smtClean="0"/>
              <a:t> - https://influenza.wiv-isp.be/fr/Documents/Influenza_2016_22.pdf, page 4), </a:t>
            </a:r>
            <a:r>
              <a:rPr lang="fr-BE" sz="1600" b="0" i="0" u="none" strike="noStrike" baseline="0" dirty="0" smtClean="0">
                <a:solidFill>
                  <a:schemeClr val="tx2"/>
                </a:solidFill>
              </a:rPr>
              <a:t>n’a pas montré de surmortalité saisonnière en Belgique</a:t>
            </a:r>
            <a:r>
              <a:rPr lang="fr-BE" sz="1600" b="0" i="0" u="none" strike="noStrike" baseline="0" dirty="0" smtClean="0"/>
              <a:t>. </a:t>
            </a:r>
            <a:br>
              <a:rPr lang="fr-BE" sz="1600" b="0" i="0" u="none" strike="noStrike" baseline="0" dirty="0" smtClean="0"/>
            </a:br>
            <a:r>
              <a:rPr lang="fr-BE" sz="1600" b="0" i="0" u="none" strike="noStrike" baseline="0" dirty="0" smtClean="0"/>
              <a:t>Cette observation de l’Institut Scientifique de Santé Publique (ISP) est </a:t>
            </a:r>
            <a:r>
              <a:rPr lang="fr-BE" sz="1600" b="0" i="0" u="none" strike="noStrike" baseline="0" dirty="0" smtClean="0">
                <a:solidFill>
                  <a:schemeClr val="tx2"/>
                </a:solidFill>
              </a:rPr>
              <a:t>confirmée par les données des pays limitrophes </a:t>
            </a:r>
            <a:r>
              <a:rPr lang="fr-BE" sz="1600" b="0" i="0" u="none" strike="noStrike" baseline="0" dirty="0" smtClean="0"/>
              <a:t>(http://www.euromomo.eu/).</a:t>
            </a:r>
          </a:p>
          <a:p>
            <a:pPr>
              <a:lnSpc>
                <a:spcPct val="150000"/>
              </a:lnSpc>
            </a:pPr>
            <a:r>
              <a:rPr lang="fr-BE" sz="1600" b="0" i="0" u="none" strike="noStrike" baseline="0" dirty="0" smtClean="0">
                <a:solidFill>
                  <a:schemeClr val="tx2"/>
                </a:solidFill>
              </a:rPr>
              <a:t>Par ailleurs, il n’existe pas encore d’évidence montrant </a:t>
            </a:r>
            <a:r>
              <a:rPr lang="fr-BE" sz="1600" b="0" i="0" u="none" strike="noStrike" baseline="0" dirty="0" smtClean="0"/>
              <a:t>que les vaccins quadrivalents amènent </a:t>
            </a:r>
            <a:r>
              <a:rPr lang="fr-BE" sz="1600" b="0" i="0" u="none" strike="noStrike" baseline="0" dirty="0" smtClean="0">
                <a:solidFill>
                  <a:schemeClr val="tx2"/>
                </a:solidFill>
              </a:rPr>
              <a:t>un bénéfice supérieur </a:t>
            </a:r>
            <a:r>
              <a:rPr lang="fr-BE" sz="1600" b="0" i="0" u="none" strike="noStrike" baseline="0" dirty="0" smtClean="0"/>
              <a:t>aux vaccins trivalents </a:t>
            </a:r>
            <a:r>
              <a:rPr lang="fr-BE" sz="1600" b="0" i="0" u="none" strike="noStrike" baseline="0" dirty="0" smtClean="0">
                <a:solidFill>
                  <a:schemeClr val="tx2"/>
                </a:solidFill>
              </a:rPr>
              <a:t>en terme de prévention de la morbidité</a:t>
            </a:r>
            <a:r>
              <a:rPr lang="fr-BE" sz="1600" b="0" i="0" u="none" strike="noStrike" baseline="0" dirty="0" smtClean="0"/>
              <a:t>.</a:t>
            </a:r>
            <a:endParaRPr lang="fr-BE" sz="1600" dirty="0"/>
          </a:p>
        </p:txBody>
      </p:sp>
    </p:spTree>
    <p:extLst>
      <p:ext uri="{BB962C8B-B14F-4D97-AF65-F5344CB8AC3E}">
        <p14:creationId xmlns:p14="http://schemas.microsoft.com/office/powerpoint/2010/main" val="212966861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979954" y="2597522"/>
            <a:ext cx="7184091" cy="43858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fr-BE" sz="1600" dirty="0">
                <a:solidFill>
                  <a:schemeClr val="tx2"/>
                </a:solidFill>
              </a:rPr>
              <a:t>Le vaccin quadrivalent pourrait cependant apporter un bénéfice en terme de morbidité </a:t>
            </a:r>
            <a:r>
              <a:rPr lang="fr-BE" sz="1600" dirty="0" smtClean="0">
                <a:solidFill>
                  <a:schemeClr val="tx2"/>
                </a:solidFill>
              </a:rPr>
              <a:t>tout spécialement </a:t>
            </a:r>
            <a:r>
              <a:rPr lang="fr-BE" sz="1600" dirty="0">
                <a:solidFill>
                  <a:schemeClr val="tx2"/>
                </a:solidFill>
              </a:rPr>
              <a:t>chez l’enfant, ainsi que chez la femme enceinte </a:t>
            </a:r>
            <a:r>
              <a:rPr lang="fr-BE" sz="1600" dirty="0"/>
              <a:t>(effet indirect pour le nouveau-né</a:t>
            </a:r>
            <a:r>
              <a:rPr lang="fr-BE" sz="1600" dirty="0" smtClean="0"/>
              <a:t>), en </a:t>
            </a:r>
            <a:r>
              <a:rPr lang="fr-BE" sz="1600" dirty="0"/>
              <a:t>cas d’un choix inadéquat de la souche B dans le vaccin trivalent. En effet, dans cette situation</a:t>
            </a:r>
            <a:r>
              <a:rPr lang="fr-BE" sz="1600" dirty="0" smtClean="0"/>
              <a:t>, le </a:t>
            </a:r>
            <a:r>
              <a:rPr lang="fr-BE" sz="1600" dirty="0"/>
              <a:t>taux d'attaque de la souche B est plus élevé chez l’enfant (</a:t>
            </a:r>
            <a:r>
              <a:rPr lang="fr-BE" sz="1600" dirty="0" err="1"/>
              <a:t>Glezen</a:t>
            </a:r>
            <a:r>
              <a:rPr lang="fr-BE" sz="1600" dirty="0"/>
              <a:t> et al., 2013</a:t>
            </a:r>
            <a:r>
              <a:rPr lang="fr-BE" sz="1600" dirty="0" smtClean="0"/>
              <a:t>).</a:t>
            </a:r>
          </a:p>
          <a:p>
            <a:pPr>
              <a:lnSpc>
                <a:spcPct val="150000"/>
              </a:lnSpc>
            </a:pPr>
            <a:endParaRPr lang="fr-BE" sz="1000" dirty="0"/>
          </a:p>
          <a:p>
            <a:pPr>
              <a:lnSpc>
                <a:spcPct val="150000"/>
              </a:lnSpc>
            </a:pPr>
            <a:r>
              <a:rPr lang="fr-BE" sz="1600" b="1" dirty="0">
                <a:solidFill>
                  <a:schemeClr val="tx2"/>
                </a:solidFill>
              </a:rPr>
              <a:t>En conclusion, le CSS tient à souligner l’importance de renforcer cette vaccination du point de </a:t>
            </a:r>
            <a:r>
              <a:rPr lang="fr-BE" sz="1600" b="1" dirty="0" smtClean="0">
                <a:solidFill>
                  <a:schemeClr val="tx2"/>
                </a:solidFill>
              </a:rPr>
              <a:t>vue de </a:t>
            </a:r>
            <a:r>
              <a:rPr lang="fr-BE" sz="1600" b="1" dirty="0">
                <a:solidFill>
                  <a:schemeClr val="tx2"/>
                </a:solidFill>
              </a:rPr>
              <a:t>la santé publique et ce indépendamment des particularités / avantages potentiels du </a:t>
            </a:r>
            <a:r>
              <a:rPr lang="fr-BE" sz="1600" b="1" dirty="0" smtClean="0">
                <a:solidFill>
                  <a:schemeClr val="tx2"/>
                </a:solidFill>
              </a:rPr>
              <a:t>vaccin choisi</a:t>
            </a:r>
            <a:r>
              <a:rPr lang="fr-BE" sz="1600" b="1" dirty="0">
                <a:solidFill>
                  <a:schemeClr val="tx2"/>
                </a:solidFill>
              </a:rPr>
              <a:t>. Toutefois, le vaccin quadrivalent (enregistré pour toute personne âgée de 3 ans ou plus</a:t>
            </a:r>
            <a:r>
              <a:rPr lang="fr-BE" sz="1600" b="1" dirty="0" smtClean="0">
                <a:solidFill>
                  <a:schemeClr val="tx2"/>
                </a:solidFill>
              </a:rPr>
              <a:t>) parait </a:t>
            </a:r>
            <a:r>
              <a:rPr lang="fr-BE" sz="1600" b="1" dirty="0">
                <a:solidFill>
                  <a:schemeClr val="tx2"/>
                </a:solidFill>
              </a:rPr>
              <a:t>le plus adéquat dans la population des femmes enceintes et des enfants à risque de plus </a:t>
            </a:r>
            <a:r>
              <a:rPr lang="fr-BE" sz="1600" b="1" dirty="0" smtClean="0">
                <a:solidFill>
                  <a:schemeClr val="tx2"/>
                </a:solidFill>
              </a:rPr>
              <a:t>de 3 </a:t>
            </a:r>
            <a:r>
              <a:rPr lang="fr-BE" sz="1600" b="1" dirty="0">
                <a:solidFill>
                  <a:schemeClr val="tx2"/>
                </a:solidFill>
              </a:rPr>
              <a:t>ans.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2"/>
          <a:srcRect l="33878" t="16360" r="35117" b="46084"/>
          <a:stretch/>
        </p:blipFill>
        <p:spPr>
          <a:xfrm>
            <a:off x="1187624" y="202655"/>
            <a:ext cx="6768752" cy="239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9565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 err="1" smtClean="0"/>
              <a:t>Seasonal</a:t>
            </a:r>
            <a:r>
              <a:rPr lang="fr-FR" b="1" dirty="0" smtClean="0"/>
              <a:t>  </a:t>
            </a:r>
            <a:r>
              <a:rPr lang="fr-FR" b="1" dirty="0" err="1" smtClean="0"/>
              <a:t>flu</a:t>
            </a:r>
            <a:endParaRPr lang="fr-FR" b="1" dirty="0" smtClean="0"/>
          </a:p>
        </p:txBody>
      </p:sp>
      <p:sp>
        <p:nvSpPr>
          <p:cNvPr id="6148" name="Text Box 3"/>
          <p:cNvSpPr txBox="1">
            <a:spLocks noChangeArrowheads="1"/>
          </p:cNvSpPr>
          <p:nvPr/>
        </p:nvSpPr>
        <p:spPr bwMode="auto">
          <a:xfrm>
            <a:off x="381000" y="1936750"/>
            <a:ext cx="25908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2800" b="1" dirty="0">
                <a:solidFill>
                  <a:srgbClr val="FF0000"/>
                </a:solidFill>
              </a:rPr>
              <a:t>+/-</a:t>
            </a:r>
            <a:r>
              <a:rPr lang="fr-FR" sz="2800" b="1" dirty="0" smtClean="0">
                <a:solidFill>
                  <a:srgbClr val="FF0000"/>
                </a:solidFill>
              </a:rPr>
              <a:t>1000/1500 </a:t>
            </a:r>
            <a:r>
              <a:rPr lang="fr-FR" sz="2800" b="1" dirty="0" err="1" smtClean="0">
                <a:solidFill>
                  <a:srgbClr val="FF0000"/>
                </a:solidFill>
              </a:rPr>
              <a:t>deaths</a:t>
            </a:r>
            <a:r>
              <a:rPr lang="fr-FR" sz="2800" b="1" dirty="0" smtClean="0">
                <a:solidFill>
                  <a:srgbClr val="FF0000"/>
                </a:solidFill>
              </a:rPr>
              <a:t>/</a:t>
            </a:r>
            <a:r>
              <a:rPr lang="fr-FR" sz="2800" b="1" dirty="0" err="1" smtClean="0">
                <a:solidFill>
                  <a:srgbClr val="FF0000"/>
                </a:solidFill>
              </a:rPr>
              <a:t>year</a:t>
            </a:r>
            <a:r>
              <a:rPr lang="fr-FR" sz="2800" b="1" dirty="0" smtClean="0">
                <a:solidFill>
                  <a:srgbClr val="FF0000"/>
                </a:solidFill>
              </a:rPr>
              <a:t>...</a:t>
            </a: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6149" name="Text Box 4"/>
          <p:cNvSpPr txBox="1">
            <a:spLocks noChangeArrowheads="1"/>
          </p:cNvSpPr>
          <p:nvPr/>
        </p:nvSpPr>
        <p:spPr bwMode="auto">
          <a:xfrm>
            <a:off x="6324600" y="5029201"/>
            <a:ext cx="2514600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fr-FR" sz="2800" b="1" dirty="0" smtClean="0">
                <a:solidFill>
                  <a:srgbClr val="FFFF00"/>
                </a:solidFill>
              </a:rPr>
              <a:t>…more </a:t>
            </a:r>
            <a:r>
              <a:rPr lang="fr-FR" sz="2800" b="1" dirty="0" err="1" smtClean="0">
                <a:solidFill>
                  <a:srgbClr val="FFFF00"/>
                </a:solidFill>
              </a:rPr>
              <a:t>than</a:t>
            </a:r>
            <a:r>
              <a:rPr lang="fr-FR" sz="2800" b="1" dirty="0" smtClean="0">
                <a:solidFill>
                  <a:srgbClr val="FFFF00"/>
                </a:solidFill>
              </a:rPr>
              <a:t> road accidents…</a:t>
            </a:r>
            <a:endParaRPr lang="fr-FR" dirty="0">
              <a:solidFill>
                <a:srgbClr val="FFFF00"/>
              </a:solidFill>
            </a:endParaRPr>
          </a:p>
        </p:txBody>
      </p:sp>
      <p:graphicFrame>
        <p:nvGraphicFramePr>
          <p:cNvPr id="6146" name="Object 5"/>
          <p:cNvGraphicFramePr>
            <a:graphicFrameLocks noChangeAspect="1"/>
          </p:cNvGraphicFramePr>
          <p:nvPr/>
        </p:nvGraphicFramePr>
        <p:xfrm>
          <a:off x="2438400" y="1600203"/>
          <a:ext cx="5105400" cy="3305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Clip" r:id="rId3" imgW="3429000" imgH="2219400" progId="">
                  <p:embed/>
                </p:oleObj>
              </mc:Choice>
              <mc:Fallback>
                <p:oleObj name="Clip" r:id="rId3" imgW="3429000" imgH="2219400" progId="">
                  <p:embed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38400" y="1600203"/>
                        <a:ext cx="5105400" cy="33051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91440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023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BE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 r="27917"/>
          <a:stretch>
            <a:fillRect/>
          </a:stretch>
        </p:blipFill>
        <p:spPr bwMode="auto">
          <a:xfrm>
            <a:off x="971600" y="769620"/>
            <a:ext cx="7085614" cy="6088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0" y="0"/>
            <a:ext cx="9144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prstClr val="black"/>
                </a:solidFill>
              </a:rPr>
              <a:t>Map 1: </a:t>
            </a:r>
            <a:r>
              <a:rPr lang="en-US" b="1" dirty="0">
                <a:solidFill>
                  <a:srgbClr val="FF0000"/>
                </a:solidFill>
              </a:rPr>
              <a:t>Influenza intensity </a:t>
            </a:r>
            <a:r>
              <a:rPr lang="en-US" b="1" dirty="0">
                <a:solidFill>
                  <a:prstClr val="black"/>
                </a:solidFill>
              </a:rPr>
              <a:t>during the </a:t>
            </a:r>
            <a:r>
              <a:rPr lang="en-US" b="1" dirty="0">
                <a:solidFill>
                  <a:srgbClr val="FF0000"/>
                </a:solidFill>
              </a:rPr>
              <a:t>2013–14 season</a:t>
            </a:r>
            <a:r>
              <a:rPr lang="en-US" b="1" dirty="0">
                <a:solidFill>
                  <a:prstClr val="black"/>
                </a:solidFill>
              </a:rPr>
              <a:t>, EU/EEA countries, weeks 40/2013–20/2014</a:t>
            </a:r>
            <a:endParaRPr lang="fr-BE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0"/>
            <a:ext cx="6858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216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632"/>
            <a:ext cx="9144000" cy="6650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258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mYMnsHDkiI81QnScwJ.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nEN06rCEyRtDOUadQM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4EKIEbQEqpPopkS7Rv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G.1fEIMUCnvooR0Ji8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kjDUZvx0iN3v.QiVSN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wf8_WizEOPnDfEv2OGI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Débit">
  <a:themeElements>
    <a:clrScheme name="Débit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Débit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Débit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Rayon">
  <a:themeElements>
    <a:clrScheme name="">
      <a:dk1>
        <a:srgbClr val="72340E"/>
      </a:dk1>
      <a:lt1>
        <a:srgbClr val="FFFFFF"/>
      </a:lt1>
      <a:dk2>
        <a:srgbClr val="3399FF"/>
      </a:dk2>
      <a:lt2>
        <a:srgbClr val="FFFF00"/>
      </a:lt2>
      <a:accent1>
        <a:srgbClr val="FFFF00"/>
      </a:accent1>
      <a:accent2>
        <a:srgbClr val="7B46D0"/>
      </a:accent2>
      <a:accent3>
        <a:srgbClr val="ADCAFF"/>
      </a:accent3>
      <a:accent4>
        <a:srgbClr val="DADADA"/>
      </a:accent4>
      <a:accent5>
        <a:srgbClr val="FFFFAA"/>
      </a:accent5>
      <a:accent6>
        <a:srgbClr val="6F3FBC"/>
      </a:accent6>
      <a:hlink>
        <a:srgbClr val="86D1EC"/>
      </a:hlink>
      <a:folHlink>
        <a:srgbClr val="45C984"/>
      </a:folHlink>
    </a:clrScheme>
    <a:fontScheme name="Ray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Rayon 1">
        <a:dk1>
          <a:srgbClr val="1A006C"/>
        </a:dk1>
        <a:lt1>
          <a:srgbClr val="FFFFFF"/>
        </a:lt1>
        <a:dk2>
          <a:srgbClr val="000066"/>
        </a:dk2>
        <a:lt2>
          <a:srgbClr val="CCCCFF"/>
        </a:lt2>
        <a:accent1>
          <a:srgbClr val="0099CC"/>
        </a:accent1>
        <a:accent2>
          <a:srgbClr val="6600CC"/>
        </a:accent2>
        <a:accent3>
          <a:srgbClr val="AAAAB8"/>
        </a:accent3>
        <a:accent4>
          <a:srgbClr val="DADADA"/>
        </a:accent4>
        <a:accent5>
          <a:srgbClr val="AACAE2"/>
        </a:accent5>
        <a:accent6>
          <a:srgbClr val="5C00B9"/>
        </a:accent6>
        <a:hlink>
          <a:srgbClr val="9999FF"/>
        </a:hlink>
        <a:folHlink>
          <a:srgbClr val="33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ayon 2">
        <a:dk1>
          <a:srgbClr val="000080"/>
        </a:dk1>
        <a:lt1>
          <a:srgbClr val="FFFFFF"/>
        </a:lt1>
        <a:dk2>
          <a:srgbClr val="000099"/>
        </a:dk2>
        <a:lt2>
          <a:srgbClr val="FFFFFF"/>
        </a:lt2>
        <a:accent1>
          <a:srgbClr val="3366FF"/>
        </a:accent1>
        <a:accent2>
          <a:srgbClr val="7B46D0"/>
        </a:accent2>
        <a:accent3>
          <a:srgbClr val="AAAACA"/>
        </a:accent3>
        <a:accent4>
          <a:srgbClr val="DADADA"/>
        </a:accent4>
        <a:accent5>
          <a:srgbClr val="ADB8FF"/>
        </a:accent5>
        <a:accent6>
          <a:srgbClr val="6F3FBC"/>
        </a:accent6>
        <a:hlink>
          <a:srgbClr val="86D1EC"/>
        </a:hlink>
        <a:folHlink>
          <a:srgbClr val="45C98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ayon 3">
        <a:dk1>
          <a:srgbClr val="3F4873"/>
        </a:dk1>
        <a:lt1>
          <a:srgbClr val="FFFFFF"/>
        </a:lt1>
        <a:dk2>
          <a:srgbClr val="4F598D"/>
        </a:dk2>
        <a:lt2>
          <a:srgbClr val="CCECFF"/>
        </a:lt2>
        <a:accent1>
          <a:srgbClr val="0099CC"/>
        </a:accent1>
        <a:accent2>
          <a:srgbClr val="4C8470"/>
        </a:accent2>
        <a:accent3>
          <a:srgbClr val="B2B5C5"/>
        </a:accent3>
        <a:accent4>
          <a:srgbClr val="DADADA"/>
        </a:accent4>
        <a:accent5>
          <a:srgbClr val="AACAE2"/>
        </a:accent5>
        <a:accent6>
          <a:srgbClr val="447765"/>
        </a:accent6>
        <a:hlink>
          <a:srgbClr val="99CC00"/>
        </a:hlink>
        <a:folHlink>
          <a:srgbClr val="96A4C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ayon 4">
        <a:dk1>
          <a:srgbClr val="006E6B"/>
        </a:dk1>
        <a:lt1>
          <a:srgbClr val="FFFFFF"/>
        </a:lt1>
        <a:dk2>
          <a:srgbClr val="008080"/>
        </a:dk2>
        <a:lt2>
          <a:srgbClr val="E2EFCD"/>
        </a:lt2>
        <a:accent1>
          <a:srgbClr val="33CCCC"/>
        </a:accent1>
        <a:accent2>
          <a:srgbClr val="6352B8"/>
        </a:accent2>
        <a:accent3>
          <a:srgbClr val="AAC0C0"/>
        </a:accent3>
        <a:accent4>
          <a:srgbClr val="DADADA"/>
        </a:accent4>
        <a:accent5>
          <a:srgbClr val="ADE2E2"/>
        </a:accent5>
        <a:accent6>
          <a:srgbClr val="5949A6"/>
        </a:accent6>
        <a:hlink>
          <a:srgbClr val="CCFFFF"/>
        </a:hlink>
        <a:folHlink>
          <a:srgbClr val="99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ayon 5">
        <a:dk1>
          <a:srgbClr val="48562C"/>
        </a:dk1>
        <a:lt1>
          <a:srgbClr val="FFFFFF"/>
        </a:lt1>
        <a:dk2>
          <a:srgbClr val="546434"/>
        </a:dk2>
        <a:lt2>
          <a:srgbClr val="FFFFCC"/>
        </a:lt2>
        <a:accent1>
          <a:srgbClr val="7B8A6E"/>
        </a:accent1>
        <a:accent2>
          <a:srgbClr val="527C3A"/>
        </a:accent2>
        <a:accent3>
          <a:srgbClr val="B3B8AE"/>
        </a:accent3>
        <a:accent4>
          <a:srgbClr val="DADADA"/>
        </a:accent4>
        <a:accent5>
          <a:srgbClr val="BFC4BA"/>
        </a:accent5>
        <a:accent6>
          <a:srgbClr val="497034"/>
        </a:accent6>
        <a:hlink>
          <a:srgbClr val="55B55E"/>
        </a:hlink>
        <a:folHlink>
          <a:srgbClr val="85B3B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ayon 6">
        <a:dk1>
          <a:srgbClr val="96B29E"/>
        </a:dk1>
        <a:lt1>
          <a:srgbClr val="FFFFFF"/>
        </a:lt1>
        <a:dk2>
          <a:srgbClr val="A5BDAC"/>
        </a:dk2>
        <a:lt2>
          <a:srgbClr val="FFFFCC"/>
        </a:lt2>
        <a:accent1>
          <a:srgbClr val="4E8880"/>
        </a:accent1>
        <a:accent2>
          <a:srgbClr val="2F71B9"/>
        </a:accent2>
        <a:accent3>
          <a:srgbClr val="CFDBD2"/>
        </a:accent3>
        <a:accent4>
          <a:srgbClr val="DADADA"/>
        </a:accent4>
        <a:accent5>
          <a:srgbClr val="B2C3C0"/>
        </a:accent5>
        <a:accent6>
          <a:srgbClr val="2A66A7"/>
        </a:accent6>
        <a:hlink>
          <a:srgbClr val="9DC0E7"/>
        </a:hlink>
        <a:folHlink>
          <a:srgbClr val="54CA8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ayon 7">
        <a:dk1>
          <a:srgbClr val="D49C00"/>
        </a:dk1>
        <a:lt1>
          <a:srgbClr val="FFFFFF"/>
        </a:lt1>
        <a:dk2>
          <a:srgbClr val="CC9900"/>
        </a:dk2>
        <a:lt2>
          <a:srgbClr val="CEBD40"/>
        </a:lt2>
        <a:accent1>
          <a:srgbClr val="CC6600"/>
        </a:accent1>
        <a:accent2>
          <a:srgbClr val="808000"/>
        </a:accent2>
        <a:accent3>
          <a:srgbClr val="E2CAAA"/>
        </a:accent3>
        <a:accent4>
          <a:srgbClr val="DADADA"/>
        </a:accent4>
        <a:accent5>
          <a:srgbClr val="E2B8AA"/>
        </a:accent5>
        <a:accent6>
          <a:srgbClr val="737300"/>
        </a:accent6>
        <a:hlink>
          <a:srgbClr val="FF9900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ayon 8">
        <a:dk1>
          <a:srgbClr val="881700"/>
        </a:dk1>
        <a:lt1>
          <a:srgbClr val="FAF9E6"/>
        </a:lt1>
        <a:dk2>
          <a:srgbClr val="990000"/>
        </a:dk2>
        <a:lt2>
          <a:srgbClr val="EADC78"/>
        </a:lt2>
        <a:accent1>
          <a:srgbClr val="FF6600"/>
        </a:accent1>
        <a:accent2>
          <a:srgbClr val="B86D52"/>
        </a:accent2>
        <a:accent3>
          <a:srgbClr val="CAAAAA"/>
        </a:accent3>
        <a:accent4>
          <a:srgbClr val="D6D5C4"/>
        </a:accent4>
        <a:accent5>
          <a:srgbClr val="FFB8AA"/>
        </a:accent5>
        <a:accent6>
          <a:srgbClr val="A66249"/>
        </a:accent6>
        <a:hlink>
          <a:srgbClr val="D78D15"/>
        </a:hlink>
        <a:folHlink>
          <a:srgbClr val="C6B3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ayon 9">
        <a:dk1>
          <a:srgbClr val="000000"/>
        </a:dk1>
        <a:lt1>
          <a:srgbClr val="FFFFFF"/>
        </a:lt1>
        <a:dk2>
          <a:srgbClr val="000000"/>
        </a:dk2>
        <a:lt2>
          <a:srgbClr val="DDDDDD"/>
        </a:lt2>
        <a:accent1>
          <a:srgbClr val="E6F5F6"/>
        </a:accent1>
        <a:accent2>
          <a:srgbClr val="A5E1A8"/>
        </a:accent2>
        <a:accent3>
          <a:srgbClr val="FFFFFF"/>
        </a:accent3>
        <a:accent4>
          <a:srgbClr val="000000"/>
        </a:accent4>
        <a:accent5>
          <a:srgbClr val="F0F9FA"/>
        </a:accent5>
        <a:accent6>
          <a:srgbClr val="95CC98"/>
        </a:accent6>
        <a:hlink>
          <a:srgbClr val="5B00B6"/>
        </a:hlink>
        <a:folHlink>
          <a:srgbClr val="34988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Débit">
  <a:themeElements>
    <a:clrScheme name="Débit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Débit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Débit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rugblik">
  <a:themeElements>
    <a:clrScheme name="Terugblik">
      <a:dk1>
        <a:sysClr val="windowText" lastClr="000000"/>
      </a:dk1>
      <a:lt1>
        <a:sysClr val="window" lastClr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Terugblik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rugblik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9CC26709-368C-4D72-9060-94E5B3FF3CD6}"/>
    </a:ext>
  </a:extLst>
</a:theme>
</file>

<file path=ppt/theme/theme8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5242</TotalTime>
  <Words>2179</Words>
  <Application>Microsoft Office PowerPoint</Application>
  <PresentationFormat>Affichage à l'écran (4:3)</PresentationFormat>
  <Paragraphs>413</Paragraphs>
  <Slides>47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7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7</vt:i4>
      </vt:variant>
    </vt:vector>
  </HeadingPairs>
  <TitlesOfParts>
    <vt:vector size="67" baseType="lpstr">
      <vt:lpstr>MS PGothic</vt:lpstr>
      <vt:lpstr>Arial</vt:lpstr>
      <vt:lpstr>Calibri</vt:lpstr>
      <vt:lpstr>Calibri Light</vt:lpstr>
      <vt:lpstr>Cambria</vt:lpstr>
      <vt:lpstr>Constantia</vt:lpstr>
      <vt:lpstr>Lucida Sans Unicode</vt:lpstr>
      <vt:lpstr>Symbol</vt:lpstr>
      <vt:lpstr>Times New Roman</vt:lpstr>
      <vt:lpstr>Vrinda</vt:lpstr>
      <vt:lpstr>Wingdings</vt:lpstr>
      <vt:lpstr>Wingdings 2</vt:lpstr>
      <vt:lpstr>Débit</vt:lpstr>
      <vt:lpstr>Rayon</vt:lpstr>
      <vt:lpstr>Thème Office</vt:lpstr>
      <vt:lpstr>2_Office Theme</vt:lpstr>
      <vt:lpstr>1_Débit</vt:lpstr>
      <vt:lpstr>1_Thème Office</vt:lpstr>
      <vt:lpstr>Terugblik</vt:lpstr>
      <vt:lpstr>Clip</vt:lpstr>
      <vt:lpstr>    Flu vaccines: immunological    and clinical data that could  help to choose…</vt:lpstr>
      <vt:lpstr>Présentation PowerPoint</vt:lpstr>
      <vt:lpstr>Présentation PowerPoint</vt:lpstr>
      <vt:lpstr>Annual hospitalizations (number and rate) linked to seasonal flu, per groupe age group-Belgium (Hanquet G et al, KCE 2013)</vt:lpstr>
      <vt:lpstr>Seasonal  flu</vt:lpstr>
      <vt:lpstr>Présentation PowerPoint</vt:lpstr>
      <vt:lpstr>Présentation PowerPoint</vt:lpstr>
      <vt:lpstr>Présentation PowerPoint</vt:lpstr>
      <vt:lpstr>Présentation PowerPoint</vt:lpstr>
      <vt:lpstr>And in  2014-15 in  Europe….</vt:lpstr>
      <vt:lpstr>Présentation PowerPoint</vt:lpstr>
      <vt:lpstr>Présentation PowerPoint</vt:lpstr>
      <vt:lpstr>Présentation PowerPoint</vt:lpstr>
      <vt:lpstr>   Effectiveness (« real life ») of seasonal flu vaccine</vt:lpstr>
      <vt:lpstr>What about « classic «  risk groups?</vt:lpstr>
      <vt:lpstr>Figure 1. Reported seasonal influenza vaccination coverage rates in     ‘older age groups’       (2008–09, 2009–10, 2010–11 and 2011–12 influenza seasons), by % </vt:lpstr>
      <vt:lpstr>Présentation PowerPoint</vt:lpstr>
      <vt:lpstr>Présentation PowerPoint</vt:lpstr>
      <vt:lpstr>Flu vaccination of pregnant women</vt:lpstr>
      <vt:lpstr>Pregnant woman (1)</vt:lpstr>
      <vt:lpstr>Pregnant woman: when? (2)</vt:lpstr>
      <vt:lpstr>And the pregnant woman</vt:lpstr>
      <vt:lpstr>Cumulative Cases of Laboratory-Proven Influenza in Infants Whose Mothers Received Influenza Vaccine, as Compared with Control Subjects</vt:lpstr>
      <vt:lpstr>Présentation PowerPoint</vt:lpstr>
      <vt:lpstr>Flu viruses and vaccines</vt:lpstr>
      <vt:lpstr>Influenza B</vt:lpstr>
      <vt:lpstr>Figure 2. Dominance and co-dominance of sentinel influenza A and B viruses, EU/EEA, 2012–2013</vt:lpstr>
      <vt:lpstr>Présentation PowerPoint</vt:lpstr>
      <vt:lpstr>Présentation PowerPoint</vt:lpstr>
      <vt:lpstr>Quadrivalent flu vaccines (QIV)</vt:lpstr>
      <vt:lpstr>What about  quadrivalent vaccines…?</vt:lpstr>
      <vt:lpstr> Rix Tetra: immunomogical  and safety data</vt:lpstr>
      <vt:lpstr>Présentation PowerPoint</vt:lpstr>
      <vt:lpstr>Présentation PowerPoint</vt:lpstr>
      <vt:lpstr>Modeling of public health and economic impact of TIV versus QIV</vt:lpstr>
      <vt:lpstr>Présentation PowerPoint</vt:lpstr>
      <vt:lpstr>Griepseizoen 2016:      de balans Saison de la grippe 2016 :   le bilan</vt:lpstr>
      <vt:lpstr>Présentation PowerPoint</vt:lpstr>
      <vt:lpstr>Présentation PowerPoint</vt:lpstr>
      <vt:lpstr>2015-2016</vt:lpstr>
      <vt:lpstr>Présentation PowerPoint</vt:lpstr>
      <vt:lpstr>Présentation PowerPoint</vt:lpstr>
      <vt:lpstr>Présentation PowerPoint</vt:lpstr>
      <vt:lpstr>Présentation PowerPoint</vt:lpstr>
      <vt:lpstr>Leading to the 2016-17 HCH recommendations….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ccination des soignants contre la grippe: pourquoi et comment?</dc:title>
  <dc:creator>vanlaethem</dc:creator>
  <cp:lastModifiedBy>Cathy TORDEUR</cp:lastModifiedBy>
  <cp:revision>379</cp:revision>
  <dcterms:created xsi:type="dcterms:W3CDTF">2011-09-13T16:01:47Z</dcterms:created>
  <dcterms:modified xsi:type="dcterms:W3CDTF">2016-11-07T15:34:32Z</dcterms:modified>
</cp:coreProperties>
</file>